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60" r:id="rId1"/>
    <p:sldMasterId id="2147483673" r:id="rId2"/>
  </p:sldMasterIdLst>
  <p:notesMasterIdLst>
    <p:notesMasterId r:id="rId26"/>
  </p:notesMasterIdLst>
  <p:sldIdLst>
    <p:sldId id="258" r:id="rId3"/>
    <p:sldId id="313" r:id="rId4"/>
    <p:sldId id="314" r:id="rId5"/>
    <p:sldId id="316" r:id="rId6"/>
    <p:sldId id="315" r:id="rId7"/>
    <p:sldId id="318" r:id="rId8"/>
    <p:sldId id="328" r:id="rId9"/>
    <p:sldId id="306" r:id="rId10"/>
    <p:sldId id="320" r:id="rId11"/>
    <p:sldId id="321" r:id="rId12"/>
    <p:sldId id="310" r:id="rId13"/>
    <p:sldId id="311" r:id="rId14"/>
    <p:sldId id="312" r:id="rId15"/>
    <p:sldId id="322" r:id="rId16"/>
    <p:sldId id="329" r:id="rId17"/>
    <p:sldId id="307" r:id="rId18"/>
    <p:sldId id="323" r:id="rId19"/>
    <p:sldId id="324" r:id="rId20"/>
    <p:sldId id="330" r:id="rId21"/>
    <p:sldId id="331" r:id="rId22"/>
    <p:sldId id="326" r:id="rId23"/>
    <p:sldId id="317" r:id="rId24"/>
    <p:sldId id="325" r:id="rId25"/>
  </p:sldIdLst>
  <p:sldSz cx="12192000" cy="6858000"/>
  <p:notesSz cx="6797675" cy="992822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DF6F9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517" autoAdjust="0"/>
    <p:restoredTop sz="93017" autoAdjust="0"/>
  </p:normalViewPr>
  <p:slideViewPr>
    <p:cSldViewPr snapToGrid="0">
      <p:cViewPr varScale="1">
        <p:scale>
          <a:sx n="74" d="100"/>
          <a:sy n="74" d="100"/>
        </p:scale>
        <p:origin x="779" y="65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E8D9AA1-C541-4E62-87A5-3445A943688F}" type="datetimeFigureOut">
              <a:rPr lang="en-US" smtClean="0"/>
              <a:t>12/4/2024</a:t>
            </a:fld>
            <a:endParaRPr lang="en-US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D0692BC-95CD-49EB-A80F-61093A97EB0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7322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D0692BC-95CD-49EB-A80F-61093A97EB0F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15993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x-none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CE331BD-3BEE-4067-9D16-AE89B49EEE74}" type="slidenum">
              <a:rPr lang="ru-RU" smtClean="0"/>
              <a:t>1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65723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0692BC-95CD-49EB-A80F-61093A97EB0F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09661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7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Подзаголовок 3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705179-D54C-4DF2-9593-0CC575370DE1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0451667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43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6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5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AA59978-CED7-4DB7-A16B-1B08BF5C4A0A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4566850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67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37741AA-2A09-4BB9-BF97-A1687891A611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3688694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91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53F216-4239-4909-ACC1-9ADCA1C416C9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814348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4212" y="685799"/>
            <a:ext cx="8001000" cy="2971801"/>
          </a:xfrm>
        </p:spPr>
        <p:txBody>
          <a:bodyPr anchor="b">
            <a:normAutofit/>
          </a:bodyPr>
          <a:lstStyle>
            <a:lvl1pPr algn="l">
              <a:defRPr sz="4800">
                <a:effectLst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4212" y="3843867"/>
            <a:ext cx="6400800" cy="1947333"/>
          </a:xfrm>
        </p:spPr>
        <p:txBody>
          <a:bodyPr anchor="t">
            <a:normAutofit/>
          </a:bodyPr>
          <a:lstStyle>
            <a:lvl1pPr marL="0" indent="0" algn="l">
              <a:buNone/>
              <a:defRPr sz="21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cxnSp>
        <p:nvCxnSpPr>
          <p:cNvPr id="16" name="Straight Connector 15"/>
          <p:cNvCxnSpPr/>
          <p:nvPr/>
        </p:nvCxnSpPr>
        <p:spPr>
          <a:xfrm flipH="1">
            <a:off x="8228012" y="8467"/>
            <a:ext cx="3810000" cy="3810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H="1">
            <a:off x="6108170" y="91545"/>
            <a:ext cx="6080655" cy="608065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 flipH="1">
            <a:off x="7235825" y="228600"/>
            <a:ext cx="4953000" cy="4953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 flipH="1">
            <a:off x="7335837" y="32278"/>
            <a:ext cx="4852989" cy="4852989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 flipH="1">
            <a:off x="7845426" y="609601"/>
            <a:ext cx="4343399" cy="4343399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8983863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0262321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1" y="2006600"/>
            <a:ext cx="8534401" cy="2281600"/>
          </a:xfrm>
        </p:spPr>
        <p:txBody>
          <a:bodyPr anchor="b">
            <a:normAutofit/>
          </a:bodyPr>
          <a:lstStyle>
            <a:lvl1pPr algn="l">
              <a:defRPr sz="3600" b="0" cap="all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3" y="4495800"/>
            <a:ext cx="8534400" cy="14986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696393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4211" y="685800"/>
            <a:ext cx="4937655" cy="3615267"/>
          </a:xfrm>
        </p:spPr>
        <p:txBody>
          <a:bodyPr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808133" y="685801"/>
            <a:ext cx="4934479" cy="3615266"/>
          </a:xfrm>
        </p:spPr>
        <p:txBody>
          <a:bodyPr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445684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72080" y="685800"/>
            <a:ext cx="4649787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4211" y="1270529"/>
            <a:ext cx="4937655" cy="3030538"/>
          </a:xfrm>
        </p:spPr>
        <p:txBody>
          <a:bodyPr anchor="t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079066" y="685800"/>
            <a:ext cx="4665134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806545" y="1262062"/>
            <a:ext cx="4929188" cy="3030538"/>
          </a:xfrm>
        </p:spPr>
        <p:txBody>
          <a:bodyPr anchor="t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8263538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9447169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125041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51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9FB038-8264-4283-AEC2-60FC221556BA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3514521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5012" y="685800"/>
            <a:ext cx="3657600" cy="1371600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4212" y="685800"/>
            <a:ext cx="5943601" cy="5308600"/>
          </a:xfrm>
        </p:spPr>
        <p:txBody>
          <a:bodyPr anchor="ctr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085012" y="2209799"/>
            <a:ext cx="3657600" cy="2091267"/>
          </a:xfrm>
        </p:spPr>
        <p:txBody>
          <a:bodyPr anchor="t"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4337201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2812" y="1447800"/>
            <a:ext cx="6019800" cy="1143000"/>
          </a:xfrm>
        </p:spPr>
        <p:txBody>
          <a:bodyPr anchor="b">
            <a:normAutofit/>
          </a:bodyPr>
          <a:lstStyle>
            <a:lvl1pPr algn="l">
              <a:defRPr sz="28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4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989012" y="914400"/>
            <a:ext cx="3280974" cy="4572000"/>
          </a:xfrm>
          <a:prstGeom prst="snip2DiagRect">
            <a:avLst>
              <a:gd name="adj1" fmla="val 10815"/>
              <a:gd name="adj2" fmla="val 0"/>
            </a:avLst>
          </a:prstGeom>
          <a:ln w="15875">
            <a:solidFill>
              <a:schemeClr val="tx1">
                <a:alpha val="40000"/>
              </a:schemeClr>
            </a:soli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2812" y="2777066"/>
            <a:ext cx="6021388" cy="2048933"/>
          </a:xfrm>
        </p:spPr>
        <p:txBody>
          <a:bodyPr anchor="t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8795779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анорамная фотография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7" name="Picture Placeholder 2"/>
          <p:cNvSpPr>
            <a:spLocks noGrp="1" noChangeAspect="1"/>
          </p:cNvSpPr>
          <p:nvPr>
            <p:ph type="pic" idx="13"/>
          </p:nvPr>
        </p:nvSpPr>
        <p:spPr>
          <a:xfrm>
            <a:off x="685800" y="533400"/>
            <a:ext cx="10818812" cy="3124200"/>
          </a:xfrm>
          <a:prstGeom prst="snip2DiagRect">
            <a:avLst>
              <a:gd name="adj1" fmla="val 10815"/>
              <a:gd name="adj2" fmla="val 0"/>
            </a:avLst>
          </a:prstGeom>
          <a:ln w="15875">
            <a:solidFill>
              <a:schemeClr val="tx1">
                <a:alpha val="40000"/>
              </a:schemeClr>
            </a:soli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914402" y="3843867"/>
            <a:ext cx="8304210" cy="457200"/>
          </a:xfrm>
        </p:spPr>
        <p:txBody>
          <a:bodyPr anchor="t">
            <a:normAutofit/>
          </a:bodyPr>
          <a:lstStyle>
            <a:lvl1pPr marL="0" indent="0">
              <a:buFontTx/>
              <a:buNone/>
              <a:defRPr sz="16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1366534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3" y="685800"/>
            <a:ext cx="10058400" cy="2743200"/>
          </a:xfrm>
        </p:spPr>
        <p:txBody>
          <a:bodyPr anchor="ctr">
            <a:normAutofit/>
          </a:bodyPr>
          <a:lstStyle>
            <a:lvl1pPr algn="l">
              <a:defRPr sz="3200" b="0" cap="all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2" y="4114800"/>
            <a:ext cx="8535988" cy="1879600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14844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1" y="685800"/>
            <a:ext cx="9144001" cy="2743200"/>
          </a:xfrm>
        </p:spPr>
        <p:txBody>
          <a:bodyPr anchor="ctr">
            <a:normAutofit/>
          </a:bodyPr>
          <a:lstStyle>
            <a:lvl1pPr algn="l">
              <a:defRPr sz="3200" b="0" cap="all">
                <a:solidFill>
                  <a:schemeClr val="tx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446212" y="3429000"/>
            <a:ext cx="8534400" cy="381000"/>
          </a:xfrm>
        </p:spPr>
        <p:txBody>
          <a:bodyPr anchor="ctr"/>
          <a:lstStyle>
            <a:lvl1pPr marL="0" indent="0">
              <a:buFontTx/>
              <a:buNone/>
              <a:defRPr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3" y="4301067"/>
            <a:ext cx="8534400" cy="1684865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31812" y="812222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0285412" y="2768601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123748347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арточка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2" y="3429000"/>
            <a:ext cx="8534400" cy="1697400"/>
          </a:xfrm>
        </p:spPr>
        <p:txBody>
          <a:bodyPr anchor="b">
            <a:normAutofit/>
          </a:bodyPr>
          <a:lstStyle>
            <a:lvl1pPr algn="l">
              <a:defRPr sz="3200" b="0" cap="all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5132981"/>
            <a:ext cx="8535990" cy="860400"/>
          </a:xfrm>
        </p:spPr>
        <p:txBody>
          <a:bodyPr anchor="t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2396779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карточки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3" y="685800"/>
            <a:ext cx="9144000" cy="2743200"/>
          </a:xfrm>
        </p:spPr>
        <p:txBody>
          <a:bodyPr anchor="ctr">
            <a:normAutofit/>
          </a:bodyPr>
          <a:lstStyle>
            <a:lvl1pPr algn="l">
              <a:defRPr sz="3200" b="0" cap="all">
                <a:solidFill>
                  <a:schemeClr val="tx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84212" y="3928534"/>
            <a:ext cx="8534401" cy="1049866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400" b="0" cap="all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4978400"/>
            <a:ext cx="8534401" cy="10160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31812" y="812222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“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0285412" y="2768601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21902282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Истина или лож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3" y="685800"/>
            <a:ext cx="10058400" cy="2743200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b="0" dirty="0"/>
            </a:lvl1pPr>
          </a:lstStyle>
          <a:p>
            <a:pPr marL="0" lvl="0"/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84212" y="3928534"/>
            <a:ext cx="8534400" cy="838200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400" b="0" cap="all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4766732"/>
            <a:ext cx="8534401" cy="1227667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9267916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8604768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685212" y="685800"/>
            <a:ext cx="2057400" cy="45720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685800"/>
            <a:ext cx="7823200" cy="5308600"/>
          </a:xfrm>
        </p:spPr>
        <p:txBody>
          <a:bodyPr vert="eaVert" anchor="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646136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75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9E3DC23-AA3E-408A-9236-DBAB42FCE94E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412649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99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6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5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7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AE357E-3CB2-45EB-B8F1-A2F73E8D5B5F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7394221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23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8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6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9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A76D7F-1DB5-43D0-9729-873B4208B0B7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741871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">
    <p:bg>
      <p:bgPr>
        <a:solidFill>
          <a:srgbClr val="F2F2F2">
            <a:alpha val="50195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47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4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338469" y="205748"/>
            <a:ext cx="10515600" cy="900150"/>
          </a:xfrm>
        </p:spPr>
        <p:txBody>
          <a:bodyPr>
            <a:norm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100" b="1" kern="1200" dirty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>
          <a:xfrm>
            <a:off x="9142413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0F8AF6-415D-4D69-9EE0-FE9916997A28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700273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71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4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338469" y="205748"/>
            <a:ext cx="10515600" cy="900150"/>
          </a:xfrm>
        </p:spPr>
        <p:txBody>
          <a:bodyPr>
            <a:norm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100" b="1" kern="1200" dirty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>
          <a:xfrm>
            <a:off x="9142413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616506E-BD4C-4445-941D-C81199411694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902939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95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2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7983538" y="136525"/>
            <a:ext cx="4114800" cy="365125"/>
          </a:xfrm>
        </p:spPr>
        <p:txBody>
          <a:bodyPr/>
          <a:lstStyle>
            <a:lvl1pPr>
              <a:defRPr dirty="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>
          <a:xfrm>
            <a:off x="9269413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591704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19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6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5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F75360-4826-41AB-98FC-3FD61FA47977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67769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2F2">
            <a:alpha val="30196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think-cell data - do not delete" hidden="1"/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3" name="Слайд think-cell" r:id="rId16" imgW="360" imgH="360" progId="TCLayout.ActiveDocument.1">
                  <p:embed/>
                </p:oleObj>
              </mc:Choice>
              <mc:Fallback>
                <p:oleObj name="Слайд think-cell" r:id="rId16" imgW="360" imgH="360" progId="TCLayout.ActiveDocument.1">
                  <p:embed/>
                  <p:pic>
                    <p:nvPicPr>
                      <p:cNvPr id="1026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Заголовок 2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/>
              <a:t>Образец заголовка</a:t>
            </a:r>
            <a:endParaRPr lang="en-US" altLang="en-US"/>
          </a:p>
        </p:txBody>
      </p:sp>
      <p:sp>
        <p:nvSpPr>
          <p:cNvPr id="1028" name="Текст 2"/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/>
              <a:t>Образец текста</a:t>
            </a:r>
          </a:p>
          <a:p>
            <a:pPr lvl="1"/>
            <a:r>
              <a:rPr lang="ru-RU" altLang="en-US"/>
              <a:t>Второй уровень</a:t>
            </a:r>
          </a:p>
          <a:p>
            <a:pPr lvl="2"/>
            <a:r>
              <a:rPr lang="ru-RU" altLang="en-US"/>
              <a:t>Третий уровень</a:t>
            </a:r>
          </a:p>
          <a:p>
            <a:pPr lvl="3"/>
            <a:r>
              <a:rPr lang="ru-RU" altLang="en-US"/>
              <a:t>Четвертый уровень</a:t>
            </a:r>
          </a:p>
          <a:p>
            <a:pPr lvl="4"/>
            <a:r>
              <a:rPr lang="ru-RU" altLang="en-US"/>
              <a:t>Пятый уровень</a:t>
            </a:r>
            <a:endParaRPr lang="en-US" altLang="en-US"/>
          </a:p>
        </p:txBody>
      </p:sp>
      <p:sp>
        <p:nvSpPr>
          <p:cNvPr id="5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5192F1-E905-494F-B976-BA88E09B6731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340737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hf hdr="0" ftr="0" dt="0"/>
  <p:txStyles>
    <p:titleStyle>
      <a:lvl1pPr algn="l" rtl="0" fontAlgn="base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fontAlgn="base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9206969" y="2963333"/>
            <a:ext cx="2981858" cy="3208867"/>
            <a:chOff x="9206969" y="2963333"/>
            <a:chExt cx="2981858" cy="3208867"/>
          </a:xfrm>
        </p:grpSpPr>
        <p:cxnSp>
          <p:nvCxnSpPr>
            <p:cNvPr id="8" name="Straight Connector 7"/>
            <p:cNvCxnSpPr/>
            <p:nvPr/>
          </p:nvCxnSpPr>
          <p:spPr>
            <a:xfrm flipH="1">
              <a:off x="11276012" y="2963333"/>
              <a:ext cx="912814" cy="912812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 flipH="1">
              <a:off x="9206969" y="3190344"/>
              <a:ext cx="2981857" cy="2981856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 flipH="1">
              <a:off x="10292292" y="3285067"/>
              <a:ext cx="1896534" cy="1896533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 flipH="1">
              <a:off x="10443103" y="3131080"/>
              <a:ext cx="1745722" cy="174572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 flipH="1">
              <a:off x="10918826" y="3683001"/>
              <a:ext cx="1270001" cy="1269999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4212" y="4487332"/>
            <a:ext cx="8534400" cy="1507067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2" y="685800"/>
            <a:ext cx="8534400" cy="361526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904412" y="6172200"/>
            <a:ext cx="1600200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84212" y="6172200"/>
            <a:ext cx="7543800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363200" y="5578475"/>
            <a:ext cx="1142245" cy="6699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32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795625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  <p:sldLayoutId id="2147483686" r:id="rId13"/>
    <p:sldLayoutId id="2147483687" r:id="rId14"/>
    <p:sldLayoutId id="2147483688" r:id="rId15"/>
    <p:sldLayoutId id="2147483689" r:id="rId16"/>
    <p:sldLayoutId id="2147483690" r:id="rId17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3600" kern="1200" cap="all">
          <a:ln w="3175" cmpd="sng">
            <a:noFill/>
          </a:ln>
          <a:solidFill>
            <a:schemeClr val="tx1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857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20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8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2pPr>
      <a:lvl3pPr marL="12001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6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3pPr>
      <a:lvl4pPr marL="15430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4pPr>
      <a:lvl5pPr marL="20002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gradFill>
          <a:gsLst>
            <a:gs pos="100000">
              <a:schemeClr val="tx1"/>
            </a:gs>
            <a:gs pos="64000">
              <a:schemeClr val="bg2">
                <a:shade val="96000"/>
                <a:satMod val="120000"/>
                <a:lumMod val="97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0" y="3898232"/>
            <a:ext cx="12192000" cy="2959768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4" name="Заголовок 1"/>
          <p:cNvSpPr txBox="1">
            <a:spLocks/>
          </p:cNvSpPr>
          <p:nvPr/>
        </p:nvSpPr>
        <p:spPr>
          <a:xfrm>
            <a:off x="0" y="1464887"/>
            <a:ext cx="12192000" cy="231866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ctr">
              <a:defRPr/>
            </a:pPr>
            <a:r>
              <a:rPr lang="kk-KZ" altLang="en-US" sz="48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 </a:t>
            </a:r>
            <a:r>
              <a:rPr lang="kk-KZ" altLang="en-US" sz="48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декс</a:t>
            </a:r>
            <a:r>
              <a:rPr lang="kk-KZ" altLang="en-US" sz="48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</a:t>
            </a:r>
            <a:endParaRPr lang="en-US" altLang="en-US" sz="48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ctr">
              <a:defRPr/>
            </a:pPr>
            <a:r>
              <a:rPr lang="kk-KZ" altLang="en-US" sz="48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лпы </a:t>
            </a:r>
            <a:r>
              <a:rPr lang="kk-KZ" altLang="en-US" sz="4800" b="1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өлік </a:t>
            </a:r>
            <a:endParaRPr lang="ru-RU" altLang="en-US" sz="4800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Подзаголовок 2"/>
          <p:cNvSpPr>
            <a:spLocks noGrp="1"/>
          </p:cNvSpPr>
          <p:nvPr>
            <p:ph type="subTitle" idx="1"/>
          </p:nvPr>
        </p:nvSpPr>
        <p:spPr>
          <a:xfrm>
            <a:off x="0" y="6271828"/>
            <a:ext cx="12192000" cy="471488"/>
          </a:xfrm>
        </p:spPr>
        <p:txBody>
          <a:bodyPr rtlCol="0" anchor="ctr">
            <a:normAutofit/>
          </a:bodyPr>
          <a:lstStyle/>
          <a:p>
            <a:pPr algn="ctr" fontAlgn="auto">
              <a:spcAft>
                <a:spcPts val="0"/>
              </a:spcAft>
              <a:defRPr/>
            </a:pPr>
            <a:r>
              <a:rPr lang="ru-RU" sz="1800" i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.</a:t>
            </a:r>
            <a:r>
              <a:rPr lang="en-US" sz="1800" i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800" i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тана, 2024</a:t>
            </a:r>
            <a:r>
              <a:rPr lang="en-US" sz="1800" i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800" i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.</a:t>
            </a:r>
          </a:p>
        </p:txBody>
      </p:sp>
    </p:spTree>
    <p:extLst>
      <p:ext uri="{BB962C8B-B14F-4D97-AF65-F5344CB8AC3E}">
        <p14:creationId xmlns:p14="http://schemas.microsoft.com/office/powerpoint/2010/main" val="327721739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6"/>
            <a:ext cx="12192000" cy="876222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algn="ctr"/>
            <a:r>
              <a:rPr lang="ru-RU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     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ҚҚС </a:t>
            </a:r>
            <a:r>
              <a:rPr lang="ru-RU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ТӨЛЕУШІНІ ЕСЕПКЕ ҚОЮ</a:t>
            </a:r>
            <a:endParaRPr lang="ru-RU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Номер слайда 33"/>
          <p:cNvSpPr>
            <a:spLocks noGrp="1"/>
          </p:cNvSpPr>
          <p:nvPr>
            <p:ph type="sldNum" sz="quarter" idx="4294967295"/>
          </p:nvPr>
        </p:nvSpPr>
        <p:spPr>
          <a:xfrm>
            <a:off x="10960100" y="6204258"/>
            <a:ext cx="1142245" cy="669925"/>
          </a:xfrm>
        </p:spPr>
        <p:txBody>
          <a:bodyPr/>
          <a:lstStyle/>
          <a:p>
            <a:fld id="{C4226082-FF36-41EB-9C07-F6F93B54EE83}" type="slidenum">
              <a:rPr lang="en-US" sz="1050" smtClean="0"/>
              <a:t>9</a:t>
            </a:fld>
            <a:endParaRPr lang="en-US" sz="1050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9228975" y="1099505"/>
            <a:ext cx="156664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ртты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smtClean="0"/>
              <a:t>  </a:t>
            </a:r>
            <a:endParaRPr lang="ru-RU" dirty="0"/>
          </a:p>
        </p:txBody>
      </p:sp>
      <p:sp>
        <p:nvSpPr>
          <p:cNvPr id="11" name="Прямоугольник 10"/>
          <p:cNvSpPr/>
          <p:nvPr/>
        </p:nvSpPr>
        <p:spPr>
          <a:xfrm>
            <a:off x="1113828" y="1091043"/>
            <a:ext cx="117852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рікті</a:t>
            </a:r>
            <a:r>
              <a:rPr lang="ru-RU" b="1" dirty="0" smtClean="0"/>
              <a:t> </a:t>
            </a:r>
            <a:endParaRPr lang="ru-RU" b="1" dirty="0"/>
          </a:p>
        </p:txBody>
      </p:sp>
      <p:sp>
        <p:nvSpPr>
          <p:cNvPr id="12" name="Прямоугольник 11"/>
          <p:cNvSpPr/>
          <p:nvPr/>
        </p:nvSpPr>
        <p:spPr>
          <a:xfrm>
            <a:off x="4982361" y="1091043"/>
            <a:ext cx="153779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індетті</a:t>
            </a:r>
            <a:r>
              <a:rPr lang="ru-RU" b="1" dirty="0" smtClean="0"/>
              <a:t>  </a:t>
            </a:r>
            <a:endParaRPr lang="ru-RU" b="1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8468263" y="1493267"/>
            <a:ext cx="327228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телдік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паниялар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интернет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йттары</a:t>
            </a:r>
            <a:endParaRPr lang="ru-RU" sz="1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760144" y="1443608"/>
            <a:ext cx="207449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кті</a:t>
            </a:r>
            <a:r>
              <a:rPr 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әнге</a:t>
            </a:r>
            <a:r>
              <a:rPr 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ru-RU" sz="16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ткенге</a:t>
            </a:r>
            <a:r>
              <a:rPr 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йін</a:t>
            </a:r>
            <a:endParaRPr lang="ru-RU" sz="1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3859823" y="1468837"/>
            <a:ext cx="447528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гер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кті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ән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ып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тсе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sz="16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ткізу</a:t>
            </a:r>
            <a:r>
              <a:rPr 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 </a:t>
            </a:r>
            <a:r>
              <a:rPr lang="ru-RU" sz="16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йрезиденттен</a:t>
            </a:r>
            <a:r>
              <a:rPr 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тып</a:t>
            </a:r>
            <a:r>
              <a:rPr 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у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DCE3981-6046-4B75-8A91-3AD79FB6BFDC}"/>
              </a:ext>
            </a:extLst>
          </p:cNvPr>
          <p:cNvSpPr txBox="1"/>
          <p:nvPr/>
        </p:nvSpPr>
        <p:spPr>
          <a:xfrm>
            <a:off x="1599175" y="2800797"/>
            <a:ext cx="830416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рікті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індетті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епке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ю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зінде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иометриялық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әйкестендіру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үргізіледі</a:t>
            </a:r>
            <a:endParaRPr lang="ru-RU" kern="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DCE3981-6046-4B75-8A91-3AD79FB6BFDC}"/>
              </a:ext>
            </a:extLst>
          </p:cNvPr>
          <p:cNvSpPr txBox="1"/>
          <p:nvPr/>
        </p:nvSpPr>
        <p:spPr>
          <a:xfrm>
            <a:off x="4716553" y="3408018"/>
            <a:ext cx="6903018" cy="195438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4" indent="-285750">
              <a:spcBef>
                <a:spcPts val="6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млекеттік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кеме</a:t>
            </a:r>
            <a:endParaRPr lang="ru-RU" sz="1600" i="1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>
              <a:spcBef>
                <a:spcPts val="6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зидент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ңды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ұлғаның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ылымдық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өлімшесі</a:t>
            </a:r>
            <a:endParaRPr lang="ru-RU" sz="1600" i="1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>
              <a:spcBef>
                <a:spcPts val="6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ке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актикамен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йналысатын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дам</a:t>
            </a:r>
            <a:endParaRPr lang="ru-RU" sz="1600" i="1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>
              <a:spcBef>
                <a:spcPts val="6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наулы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жимін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лданатын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уші</a:t>
            </a:r>
            <a:endParaRPr lang="ru-RU" sz="1600" i="1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>
              <a:spcBef>
                <a:spcPts val="6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1600" i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ке </a:t>
            </a:r>
            <a:r>
              <a:rPr lang="ru-RU" sz="1600" i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ұлға</a:t>
            </a:r>
            <a:endParaRPr lang="ru-RU" sz="1600" i="1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>
              <a:spcBef>
                <a:spcPts val="6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kk-KZ" sz="1600" i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йын бизнесі</a:t>
            </a:r>
            <a:endParaRPr lang="ru-RU" sz="1600" i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590456" y="3918893"/>
            <a:ext cx="355984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ҚҚС 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бойынша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есепке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sz="2000" b="1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қоюға</a:t>
            </a:r>
            <a:r>
              <a:rPr lang="ru-RU" sz="2000" b="1" dirty="0" smtClean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 </a:t>
            </a:r>
            <a:r>
              <a:rPr lang="ru-RU" sz="2000" b="1" dirty="0" err="1" smtClean="0">
                <a:solidFill>
                  <a:srgbClr val="002060"/>
                </a:solidFill>
                <a:latin typeface="Arial" panose="020B0604020202020204" pitchFamily="34" charset="0"/>
                <a:ea typeface="ＭＳ Ｐゴシック" panose="020B0600070205080204" pitchFamily="34" charset="-128"/>
                <a:cs typeface="Arial" panose="020B0604020202020204" pitchFamily="34" charset="0"/>
              </a:rPr>
              <a:t>жатпайды</a:t>
            </a:r>
            <a:endParaRPr lang="ru-RU" sz="2000" b="1" u="sng" dirty="0">
              <a:solidFill>
                <a:srgbClr val="002060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16" name="Правая фигурная скобка 15">
            <a:extLst>
              <a:ext uri="{FF2B5EF4-FFF2-40B4-BE49-F238E27FC236}">
                <a16:creationId xmlns:a16="http://schemas.microsoft.com/office/drawing/2014/main" id="{125B16CE-0B9A-4277-BC90-B2243C0B539A}"/>
              </a:ext>
            </a:extLst>
          </p:cNvPr>
          <p:cNvSpPr/>
          <p:nvPr/>
        </p:nvSpPr>
        <p:spPr>
          <a:xfrm rot="10800000">
            <a:off x="4150297" y="3320376"/>
            <a:ext cx="319432" cy="1806499"/>
          </a:xfrm>
          <a:prstGeom prst="rightBrace">
            <a:avLst>
              <a:gd name="adj1" fmla="val 114144"/>
              <a:gd name="adj2" fmla="val 50824"/>
            </a:avLst>
          </a:prstGeom>
          <a:ln w="38100">
            <a:solidFill>
              <a:schemeClr val="accent3">
                <a:lumMod val="75000"/>
                <a:alpha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1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750498" y="5394198"/>
            <a:ext cx="1105043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1400" i="1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1400" b="1" i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2436832" y="2246307"/>
            <a:ext cx="662884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ҚС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епке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юдың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кті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әні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 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00 АЕ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413419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06A494-8E61-01B7-FA3F-72FDD54040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D0E7281F-3CB1-79A3-2422-70E949F5F234}"/>
              </a:ext>
            </a:extLst>
          </p:cNvPr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algn="ctr"/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ӘРЕКЕТСІЗ САЛЫҚ </a:t>
            </a:r>
            <a:r>
              <a:rPr lang="ru-RU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ТӨЛЕУШІЛЕР 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ТІЗІЛІМІ 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BA3B218D-539A-09F5-1298-D90BAAEA69A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176B006-6A0E-DA49-58FA-6740C0AC4B53}"/>
              </a:ext>
            </a:extLst>
          </p:cNvPr>
          <p:cNvSpPr txBox="1"/>
          <p:nvPr/>
        </p:nvSpPr>
        <p:spPr>
          <a:xfrm>
            <a:off x="219809" y="1193017"/>
            <a:ext cx="11711354" cy="33547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57188" lvl="4" indent="358775" algn="just">
              <a:spcAft>
                <a:spcPts val="1200"/>
              </a:spcAft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kern="1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алық</a:t>
            </a:r>
            <a:r>
              <a:rPr lang="ru-RU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өлеуші</a:t>
            </a:r>
            <a:r>
              <a:rPr lang="ru-RU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(</a:t>
            </a:r>
            <a:r>
              <a:rPr lang="ru-RU" kern="1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заңды</a:t>
            </a:r>
            <a:r>
              <a:rPr lang="ru-RU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ұлға</a:t>
            </a:r>
            <a:r>
              <a:rPr lang="ru-RU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, дара </a:t>
            </a:r>
            <a:r>
              <a:rPr lang="ru-RU" kern="1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әсіпкер</a:t>
            </a:r>
            <a:r>
              <a:rPr lang="ru-RU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) 12 ай </a:t>
            </a:r>
            <a:r>
              <a:rPr lang="kk-KZ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ішінде салық есептілігін дербес ұсынбаған</a:t>
            </a:r>
            <a:endParaRPr lang="ru-RU" kern="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357188" lvl="4" indent="358775" algn="just">
              <a:spcAft>
                <a:spcPts val="1200"/>
              </a:spcAft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30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әуірден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ешіктірмей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- </a:t>
            </a:r>
            <a:r>
              <a:rPr lang="ru-RU" kern="1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алық</a:t>
            </a:r>
            <a:r>
              <a:rPr lang="ru-RU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өлеушіні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(СТ)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әрекетсіз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алық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өлеушілер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ізіліміне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енгізу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уралы</a:t>
            </a:r>
            <a:r>
              <a:rPr lang="ru-RU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шешім</a:t>
            </a:r>
            <a:endParaRPr lang="ru-RU" kern="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357188" lvl="4" indent="358775" algn="just">
              <a:spcAft>
                <a:spcPts val="1200"/>
              </a:spcAft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Әрекетсіз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СТ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ізілімін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уәкілетті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рганның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интернет-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есурсында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рналастыру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 </a:t>
            </a:r>
          </a:p>
          <a:p>
            <a:pPr marL="357188" lvl="4" indent="358775" algn="just">
              <a:spcAft>
                <a:spcPts val="1200"/>
              </a:spcAft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Т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үшін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Ж-да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алыптастыратын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езекті</a:t>
            </a:r>
            <a:r>
              <a:rPr lang="ru-RU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«</a:t>
            </a:r>
            <a:r>
              <a:rPr lang="ru-RU" kern="1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өлдік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» </a:t>
            </a:r>
            <a:r>
              <a:rPr lang="ru-RU" kern="1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алықтық</a:t>
            </a:r>
            <a:r>
              <a:rPr lang="ru-RU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есептілікке</a:t>
            </a:r>
            <a:r>
              <a:rPr lang="ru-RU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осымша</a:t>
            </a:r>
            <a:r>
              <a:rPr lang="ru-RU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алықтық</a:t>
            </a:r>
            <a:r>
              <a:rPr lang="ru-RU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есептілікті</a:t>
            </a:r>
            <a:r>
              <a:rPr lang="ru-RU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ұсынғаннан</a:t>
            </a:r>
            <a:r>
              <a:rPr lang="ru-RU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ейін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алық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өлеушіні</a:t>
            </a:r>
            <a:r>
              <a:rPr lang="ru-RU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әрекетсіз</a:t>
            </a:r>
            <a:r>
              <a:rPr lang="ru-RU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алық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өлеуші</a:t>
            </a:r>
            <a:r>
              <a:rPr lang="ru-RU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ізілімінен</a:t>
            </a:r>
            <a:r>
              <a:rPr lang="ru-RU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шығару</a:t>
            </a:r>
            <a:endParaRPr lang="ru-RU" kern="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357188" lvl="4" indent="358775" algn="just">
              <a:spcAft>
                <a:spcPts val="1200"/>
              </a:spcAft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kern="1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Уәкілетті</a:t>
            </a:r>
            <a:r>
              <a:rPr lang="ru-RU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рганның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интернет-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есурсында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әрекетсіз</a:t>
            </a:r>
            <a:r>
              <a:rPr lang="ru-RU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Т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аңартылған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ізілімін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рналастыру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</a:p>
          <a:p>
            <a:pPr marL="357188" lvl="4" indent="358775" algn="just">
              <a:spcAft>
                <a:spcPts val="1200"/>
              </a:spcAft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kern="1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ізілімнен</a:t>
            </a:r>
            <a:r>
              <a:rPr lang="ru-RU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өмірлерді</a:t>
            </a:r>
            <a:r>
              <a:rPr lang="ru-RU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лып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астау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(</a:t>
            </a:r>
            <a:r>
              <a:rPr lang="kk-KZ" i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ӘМ жүргізетін заңды тұлғалардың тізілімі</a:t>
            </a:r>
            <a:r>
              <a:rPr lang="ru-RU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)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ондай-ақ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ДК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іркеу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есебінен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шығару</a:t>
            </a:r>
            <a:r>
              <a:rPr lang="ru-RU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езінде</a:t>
            </a:r>
            <a:r>
              <a:rPr lang="ru-RU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ір</a:t>
            </a:r>
            <a:r>
              <a:rPr lang="ru-RU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мезгілде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әрекетсіз</a:t>
            </a:r>
            <a:r>
              <a:rPr lang="ru-RU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Т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ізілімінен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СТ </a:t>
            </a:r>
            <a:r>
              <a:rPr lang="ru-RU" kern="1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лып</a:t>
            </a:r>
            <a:r>
              <a:rPr lang="ru-RU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астау</a:t>
            </a:r>
            <a:r>
              <a:rPr lang="ru-RU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, </a:t>
            </a:r>
            <a:endParaRPr lang="ru-RU" kern="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120747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06A494-8E61-01B7-FA3F-72FDD54040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D0E7281F-3CB1-79A3-2422-70E949F5F234}"/>
              </a:ext>
            </a:extLst>
          </p:cNvPr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algn="ctr"/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САЛЫҚ ТӨЛЕУШІНІ МӘЖБҮРЛЕП ТАРАТУ 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BA3B218D-539A-09F5-1298-D90BAAEA69A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176B006-6A0E-DA49-58FA-6740C0AC4B53}"/>
              </a:ext>
            </a:extLst>
          </p:cNvPr>
          <p:cNvSpPr txBox="1"/>
          <p:nvPr/>
        </p:nvSpPr>
        <p:spPr>
          <a:xfrm>
            <a:off x="246185" y="1147736"/>
            <a:ext cx="11676184" cy="49552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57188" lvl="4" indent="339725">
              <a:spcAft>
                <a:spcPts val="1200"/>
              </a:spcAft>
              <a:buClr>
                <a:srgbClr val="000000"/>
              </a:buClr>
              <a:buFont typeface="Wingdings" pitchFamily="2" charset="2"/>
              <a:buChar char="Ø"/>
              <a:tabLst>
                <a:tab pos="10281920" algn="l"/>
              </a:tabLst>
              <a:defRPr/>
            </a:pP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1 </a:t>
            </a:r>
            <a:r>
              <a:rPr lang="ru-RU" kern="1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аңтардағы</a:t>
            </a:r>
            <a:r>
              <a:rPr lang="ru-RU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ағдай</a:t>
            </a:r>
            <a:r>
              <a:rPr lang="ru-RU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ойынша</a:t>
            </a:r>
            <a:r>
              <a:rPr lang="ru-RU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шарттарға</a:t>
            </a:r>
            <a:r>
              <a:rPr lang="ru-RU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әйкес</a:t>
            </a:r>
            <a:r>
              <a:rPr lang="ru-RU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елген</a:t>
            </a:r>
            <a:r>
              <a:rPr lang="ru-RU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езде</a:t>
            </a:r>
            <a:r>
              <a:rPr lang="ru-RU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ның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ішінде</a:t>
            </a:r>
            <a:r>
              <a:rPr lang="ru-RU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: </a:t>
            </a:r>
            <a:endParaRPr lang="ru-RU" kern="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357188" lvl="4" indent="339725">
              <a:spcAft>
                <a:spcPts val="1200"/>
              </a:spcAft>
              <a:buClr>
                <a:srgbClr val="000000"/>
              </a:buClr>
              <a:buFont typeface="Wingdings" pitchFamily="2" charset="2"/>
              <a:buChar char="ü"/>
              <a:tabLst>
                <a:tab pos="10281920" algn="l"/>
              </a:tabLst>
              <a:defRPr/>
            </a:pPr>
            <a:r>
              <a:rPr lang="kk-KZ" sz="1600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Салық </a:t>
            </a:r>
            <a:r>
              <a:rPr lang="kk-KZ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есептілігін дербес </a:t>
            </a:r>
            <a:r>
              <a:rPr lang="kk-KZ" sz="1600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ұсынбаған</a:t>
            </a:r>
            <a:endParaRPr lang="ru-RU" sz="1600" kern="100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357188" lvl="4" indent="339725" algn="just">
              <a:spcAft>
                <a:spcPts val="1200"/>
              </a:spcAft>
              <a:buClr>
                <a:srgbClr val="000000"/>
              </a:buClr>
              <a:buFont typeface="Wingdings" pitchFamily="2" charset="2"/>
              <a:buChar char="ü"/>
              <a:tabLst>
                <a:tab pos="10281920" algn="l"/>
              </a:tabLst>
              <a:defRPr/>
            </a:pPr>
            <a:r>
              <a:rPr lang="ru-RU" sz="1600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асқа</a:t>
            </a:r>
            <a:r>
              <a:rPr lang="ru-RU" sz="1600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заңды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ұлғаның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директоры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әне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(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емесе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)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ұрылтайшысы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ірлескен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әсіпкерлікке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атысушы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олып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абылмаса</a:t>
            </a:r>
            <a:endParaRPr lang="ru-RU" sz="1600" kern="100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357188" lvl="4" indent="339725" algn="just">
              <a:spcAft>
                <a:spcPts val="1200"/>
              </a:spcAft>
              <a:buClr>
                <a:srgbClr val="000000"/>
              </a:buClr>
              <a:buFont typeface="Wingdings" pitchFamily="2" charset="2"/>
              <a:buChar char="ü"/>
              <a:tabLst>
                <a:tab pos="10281920" algn="l"/>
              </a:tabLst>
              <a:defRPr/>
            </a:pPr>
            <a:r>
              <a:rPr lang="ru-RU" sz="1600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ҚҚС </a:t>
            </a:r>
            <a:r>
              <a:rPr lang="ru-RU" sz="1600" kern="1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өлеуші</a:t>
            </a:r>
            <a:r>
              <a:rPr lang="ru-RU" sz="1600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олмаса</a:t>
            </a:r>
            <a:endParaRPr lang="ru-RU" sz="1600" kern="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357188" lvl="4" indent="339725" algn="just">
              <a:spcAft>
                <a:spcPts val="1200"/>
              </a:spcAft>
              <a:buClr>
                <a:srgbClr val="000000"/>
              </a:buClr>
              <a:buFont typeface="Wingdings" pitchFamily="2" charset="2"/>
              <a:buChar char="ü"/>
              <a:tabLst>
                <a:tab pos="10281920" algn="l"/>
              </a:tabLst>
              <a:defRPr/>
            </a:pPr>
            <a:r>
              <a:rPr lang="ru-RU" sz="1600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алап</a:t>
            </a:r>
            <a:r>
              <a:rPr lang="ru-RU" sz="1600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ою</a:t>
            </a:r>
            <a:r>
              <a:rPr lang="ru-RU" sz="1600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мерзімі</a:t>
            </a:r>
            <a:r>
              <a:rPr lang="ru-RU" sz="1600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ішінде</a:t>
            </a:r>
            <a:r>
              <a:rPr lang="ru-RU" sz="1600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анктік</a:t>
            </a:r>
            <a:r>
              <a:rPr lang="ru-RU" sz="1600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перацияларды</a:t>
            </a:r>
            <a:r>
              <a:rPr lang="ru-RU" sz="1600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үзеге</a:t>
            </a:r>
            <a:r>
              <a:rPr lang="ru-RU" sz="1600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сырмаса</a:t>
            </a:r>
            <a:endParaRPr lang="ru-RU" sz="1600" kern="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357188" lvl="4" indent="339725" algn="just">
              <a:spcAft>
                <a:spcPts val="1200"/>
              </a:spcAft>
              <a:buClr>
                <a:srgbClr val="000000"/>
              </a:buClr>
              <a:buFont typeface="Wingdings" pitchFamily="2" charset="2"/>
              <a:buChar char="ü"/>
              <a:tabLst>
                <a:tab pos="10281920" algn="l"/>
              </a:tabLst>
              <a:defRPr/>
            </a:pPr>
            <a:r>
              <a:rPr lang="ru-RU" sz="1600" kern="1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юджетке</a:t>
            </a:r>
            <a:r>
              <a:rPr lang="ru-RU" sz="1600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ерешегі</a:t>
            </a:r>
            <a:r>
              <a:rPr lang="ru-RU" sz="1600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оқ</a:t>
            </a:r>
            <a:r>
              <a:rPr lang="ru-RU" sz="1600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әрекетсіз</a:t>
            </a:r>
            <a:r>
              <a:rPr lang="ru-RU" sz="1600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алық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өлеушінің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(СТ)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ызметін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мәжбүрлеп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оқтату</a:t>
            </a:r>
            <a:endParaRPr lang="ru-RU" sz="1600" kern="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357188" lvl="4" indent="339725" algn="just">
              <a:spcAft>
                <a:spcPts val="1200"/>
              </a:spcAft>
              <a:buClr>
                <a:srgbClr val="000000"/>
              </a:buClr>
              <a:buFont typeface="Wingdings" pitchFamily="2" charset="2"/>
              <a:buChar char="Ø"/>
              <a:tabLst>
                <a:tab pos="10281920" algn="l"/>
              </a:tabLst>
              <a:defRPr/>
            </a:pPr>
            <a:r>
              <a:rPr lang="ru-RU" kern="1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Уәкілетті</a:t>
            </a:r>
            <a:r>
              <a:rPr lang="ru-RU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рганның</a:t>
            </a:r>
            <a:r>
              <a:rPr lang="ru-RU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ызметті</a:t>
            </a:r>
            <a:r>
              <a:rPr lang="ru-RU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мәжбүрлеп</a:t>
            </a:r>
            <a:r>
              <a:rPr lang="ru-RU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оқтату</a:t>
            </a:r>
            <a:r>
              <a:rPr lang="ru-RU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әртібі</a:t>
            </a:r>
            <a:r>
              <a:rPr lang="ru-RU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мен </a:t>
            </a:r>
            <a:r>
              <a:rPr lang="ru-RU" kern="1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мерзімдерін</a:t>
            </a:r>
            <a:r>
              <a:rPr lang="ru-RU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йқындау</a:t>
            </a:r>
            <a:r>
              <a:rPr lang="ru-RU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:</a:t>
            </a:r>
            <a:endParaRPr lang="ru-RU" kern="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357188" lvl="4" indent="339725">
              <a:spcAft>
                <a:spcPts val="1200"/>
              </a:spcAft>
              <a:buClr>
                <a:srgbClr val="000000"/>
              </a:buClr>
              <a:buFont typeface="Wingdings" pitchFamily="2" charset="2"/>
              <a:buChar char="ü"/>
              <a:tabLst>
                <a:tab pos="10281920" algn="l"/>
              </a:tabLst>
              <a:defRPr/>
            </a:pP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Мәжбүрлеп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аратуға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ататын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убъектілердің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ізбесін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ыл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айын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алыптастыру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ізімді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ұқаралық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қпарат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ұралдарында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ариялау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анктерге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ұрау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салу, </a:t>
            </a:r>
            <a:r>
              <a:rPr lang="ru-RU" sz="1600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УМО,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іркеу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органы</a:t>
            </a:r>
          </a:p>
          <a:p>
            <a:pPr marL="357188" lvl="4" indent="339725">
              <a:spcAft>
                <a:spcPts val="1200"/>
              </a:spcAft>
              <a:buClr>
                <a:srgbClr val="000000"/>
              </a:buClr>
              <a:buFont typeface="Wingdings" pitchFamily="2" charset="2"/>
              <a:buChar char="ü"/>
              <a:tabLst>
                <a:tab pos="10281920" algn="l"/>
              </a:tabLst>
              <a:defRPr/>
            </a:pP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Мәжбүрлеп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аратуға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ататын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убъектілердің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үпкілікті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ізімін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ыл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айын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алыптастыру</a:t>
            </a:r>
            <a:endParaRPr lang="ru-RU" sz="1600" kern="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357188" lvl="4" indent="339725" algn="just">
              <a:spcAft>
                <a:spcPts val="1200"/>
              </a:spcAft>
              <a:buClr>
                <a:srgbClr val="000000"/>
              </a:buClr>
              <a:buFont typeface="Wingdings" pitchFamily="2" charset="2"/>
              <a:buChar char="ü"/>
              <a:tabLst>
                <a:tab pos="10281920" algn="l"/>
              </a:tabLst>
              <a:defRPr/>
            </a:pP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алық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ргандарының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әрекетсіз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заңды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ұлүаларды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отқа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алап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ою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рқылы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мәжбүрлеп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аратуы</a:t>
            </a:r>
            <a:endParaRPr lang="ru-RU" kern="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357188" lvl="4" indent="339725" algn="just">
              <a:spcAft>
                <a:spcPts val="1200"/>
              </a:spcAft>
              <a:buClr>
                <a:srgbClr val="000000"/>
              </a:buClr>
              <a:buFont typeface="Wingdings" pitchFamily="2" charset="2"/>
              <a:buChar char="ü"/>
              <a:tabLst>
                <a:tab pos="10281920" algn="l"/>
              </a:tabLst>
              <a:defRPr/>
            </a:pP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алық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ргандарының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әрекетсіз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даракәсіпкерлер</a:t>
            </a:r>
            <a:r>
              <a:rPr lang="ru-RU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отқа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алап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рызсыз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мәжбүрлеп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аратуы</a:t>
            </a:r>
            <a:r>
              <a:rPr lang="ru-RU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   </a:t>
            </a:r>
            <a:endParaRPr lang="ru-RU" sz="1600" kern="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014593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06A494-8E61-01B7-FA3F-72FDD54040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D0E7281F-3CB1-79A3-2422-70E949F5F234}"/>
              </a:ext>
            </a:extLst>
          </p:cNvPr>
          <p:cNvSpPr/>
          <p:nvPr/>
        </p:nvSpPr>
        <p:spPr>
          <a:xfrm>
            <a:off x="0" y="0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52438" indent="88900" algn="ctr"/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САЛЫ</a:t>
            </a:r>
            <a:r>
              <a:rPr lang="kk-KZ" sz="2800" b="1" dirty="0">
                <a:latin typeface="Arial" panose="020B0604020202020204" pitchFamily="34" charset="0"/>
                <a:cs typeface="Arial" panose="020B0604020202020204" pitchFamily="34" charset="0"/>
              </a:rPr>
              <a:t>Қ </a:t>
            </a:r>
            <a:r>
              <a:rPr lang="kk-KZ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НЫСАНДАРЫ</a:t>
            </a:r>
            <a:endParaRPr lang="ru-RU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2B67832-E8B9-3B9E-A384-104D1FDEAB91}"/>
              </a:ext>
            </a:extLst>
          </p:cNvPr>
          <p:cNvSpPr txBox="1"/>
          <p:nvPr/>
        </p:nvSpPr>
        <p:spPr>
          <a:xfrm>
            <a:off x="554090" y="1357003"/>
            <a:ext cx="11381594" cy="3785652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marL="285750" lvl="4" indent="-285750">
              <a:spcAft>
                <a:spcPts val="1200"/>
              </a:spcAft>
              <a:buClr>
                <a:srgbClr val="000000"/>
              </a:buClr>
              <a:buFont typeface="Wingdings" pitchFamily="2" charset="2"/>
              <a:buChar char="Ø"/>
              <a:tabLst>
                <a:tab pos="10281920" algn="l"/>
              </a:tabLst>
              <a:defRPr/>
            </a:pP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алы</a:t>
            </a:r>
            <a:r>
              <a:rPr lang="kk-KZ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 есептілігінің нысандарын 30 пайызға қысқарту, оның </a:t>
            </a:r>
            <a:r>
              <a:rPr lang="kk-KZ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ішінде</a:t>
            </a:r>
            <a:r>
              <a:rPr lang="ru-RU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:</a:t>
            </a:r>
            <a:endParaRPr lang="ru-RU" kern="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1255713" lvl="4" indent="-358775">
              <a:spcAft>
                <a:spcPts val="1200"/>
              </a:spcAft>
              <a:buClr>
                <a:srgbClr val="000000"/>
              </a:buClr>
              <a:buFont typeface="Wingdings" pitchFamily="2" charset="2"/>
              <a:buChar char="v"/>
              <a:tabLst>
                <a:tab pos="10280650" algn="l"/>
              </a:tabLst>
              <a:defRPr/>
            </a:pP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300 АЕК (1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млн.теңге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)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өмен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алық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міндеттемелері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ойынша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ер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алығы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әне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мүлік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алығы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(701.01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ысан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)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ойынша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ғымдағы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өлемдердің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есебін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ою</a:t>
            </a:r>
            <a:endParaRPr lang="ru-RU" sz="1600" kern="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1255713" lvl="4" indent="-358775">
              <a:spcAft>
                <a:spcPts val="1200"/>
              </a:spcAft>
              <a:buClr>
                <a:srgbClr val="000000"/>
              </a:buClr>
              <a:buFont typeface="Wingdings" pitchFamily="2" charset="2"/>
              <a:buChar char="v"/>
              <a:tabLst>
                <a:tab pos="10281920" algn="l"/>
              </a:tabLst>
              <a:defRPr/>
            </a:pP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Заңды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ұлғалар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үшін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өлік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алығын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есептеуді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(701.00 </a:t>
            </a:r>
            <a:r>
              <a:rPr lang="ru-RU" sz="1600" kern="1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ысаны</a:t>
            </a:r>
            <a:r>
              <a:rPr lang="ru-RU" sz="1600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) </a:t>
            </a:r>
            <a:r>
              <a:rPr lang="ru-RU" sz="1600" kern="1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ою</a:t>
            </a:r>
            <a:r>
              <a:rPr lang="ru-RU" sz="1600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</a:p>
          <a:p>
            <a:pPr marL="1255713" lvl="4" indent="-358775">
              <a:spcAft>
                <a:spcPts val="1200"/>
              </a:spcAft>
              <a:buClr>
                <a:srgbClr val="000000"/>
              </a:buClr>
              <a:buFont typeface="Wingdings" pitchFamily="2" charset="2"/>
              <a:buChar char="v"/>
              <a:tabLst>
                <a:tab pos="10281920" algn="l"/>
              </a:tabLst>
              <a:defRPr/>
            </a:pP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алық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есептілігі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ысандарының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мазмұнын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ңайлату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: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ртық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қпарат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ысандарындағы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лып</a:t>
            </a:r>
            <a:r>
              <a:rPr lang="ru-RU" sz="1600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астау</a:t>
            </a:r>
            <a:endParaRPr lang="ru-RU" sz="1600" kern="100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1255713" lvl="4" indent="-358775">
              <a:spcAft>
                <a:spcPts val="1200"/>
              </a:spcAft>
              <a:buClr>
                <a:srgbClr val="000000"/>
              </a:buClr>
              <a:buFont typeface="Wingdings" pitchFamily="2" charset="2"/>
              <a:buChar char="v"/>
              <a:tabLst>
                <a:tab pos="10281920" algn="l"/>
              </a:tabLst>
              <a:defRPr/>
            </a:pP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алық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есептілігінің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мазмұнын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еңейту</a:t>
            </a:r>
            <a:r>
              <a:rPr lang="ru-RU" sz="1600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i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(</a:t>
            </a:r>
            <a:r>
              <a:rPr lang="ru-RU" sz="1400" i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мысалы</a:t>
            </a:r>
            <a:r>
              <a:rPr lang="ru-RU" sz="1400" i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, КТС </a:t>
            </a:r>
            <a:r>
              <a:rPr lang="ru-RU" sz="1400" i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ойынша</a:t>
            </a:r>
            <a:r>
              <a:rPr lang="ru-RU" sz="1400" i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i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еңілдіктерді</a:t>
            </a:r>
            <a:r>
              <a:rPr lang="ru-RU" sz="1400" i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400" i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өрсететін</a:t>
            </a:r>
            <a:r>
              <a:rPr lang="ru-RU" sz="1400" i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100.00 н.)</a:t>
            </a:r>
            <a:r>
              <a:rPr lang="ru-RU" sz="1400" i="1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 </a:t>
            </a:r>
            <a:endParaRPr lang="ru-RU" sz="1400" i="1" kern="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285750" lvl="4" indent="-285750">
              <a:spcAft>
                <a:spcPts val="1200"/>
              </a:spcAft>
              <a:buClr>
                <a:srgbClr val="000000"/>
              </a:buClr>
              <a:buFont typeface="Wingdings" pitchFamily="2" charset="2"/>
              <a:buChar char="Ø"/>
              <a:tabLst>
                <a:tab pos="10281920" algn="l"/>
              </a:tabLst>
              <a:defRPr/>
            </a:pP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Егер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алық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өлеуші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алықтық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есептілікті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ұсынбаса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үйе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ажет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олған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ағдайда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алық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өлеуші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ҚСЕН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абыс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ету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ұқығын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ақтай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тырып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втоматты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үрде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өлге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ең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деп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есептейді</a:t>
            </a:r>
            <a:endParaRPr lang="ru-RU" kern="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285750" lvl="4" indent="-285750">
              <a:spcAft>
                <a:spcPts val="1200"/>
              </a:spcAft>
              <a:buClr>
                <a:srgbClr val="000000"/>
              </a:buClr>
              <a:buFont typeface="Wingdings" pitchFamily="2" charset="2"/>
              <a:buChar char="Ø"/>
              <a:tabLst>
                <a:tab pos="10281920" algn="l"/>
              </a:tabLst>
              <a:defRPr/>
            </a:pP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алық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есептілігін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ері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айтарып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луды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лып</a:t>
            </a:r>
            <a:r>
              <a:rPr lang="ru-RU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астау</a:t>
            </a:r>
            <a:r>
              <a:rPr lang="ru-RU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(</a:t>
            </a:r>
            <a:r>
              <a:rPr lang="ru-RU" sz="1600" i="1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СЕН </a:t>
            </a:r>
            <a:r>
              <a:rPr lang="ru-RU" sz="1600" i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ұсыну</a:t>
            </a:r>
            <a:r>
              <a:rPr lang="ru-RU" sz="1600" i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i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рқылы</a:t>
            </a:r>
            <a:r>
              <a:rPr lang="ru-RU" sz="1600" i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СЕН </a:t>
            </a:r>
            <a:r>
              <a:rPr lang="ru-RU" sz="1600" i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үзету</a:t>
            </a:r>
            <a:r>
              <a:rPr lang="ru-RU" sz="1600" i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i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алады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) </a:t>
            </a:r>
            <a:endParaRPr lang="ru-RU" kern="100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285750" lvl="4" indent="-285750">
              <a:spcAft>
                <a:spcPts val="1200"/>
              </a:spcAft>
              <a:buClr>
                <a:srgbClr val="000000"/>
              </a:buClr>
              <a:buFont typeface="Wingdings" pitchFamily="2" charset="2"/>
              <a:buChar char="Ø"/>
              <a:tabLst>
                <a:tab pos="10281920" algn="l"/>
              </a:tabLst>
              <a:defRPr/>
            </a:pP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алық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есептілігін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абыс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ету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мерзімдерін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ұзартуды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лып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астау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1600" i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(АЖ </a:t>
            </a:r>
            <a:r>
              <a:rPr lang="ru-RU" sz="1600" i="1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«</a:t>
            </a:r>
            <a:r>
              <a:rPr lang="ru-RU" sz="1600" i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0» </a:t>
            </a:r>
            <a:r>
              <a:rPr lang="ru-RU" sz="1600" i="1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ЕН </a:t>
            </a:r>
            <a:r>
              <a:rPr lang="ru-RU" sz="1600" i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алыптастырады</a:t>
            </a:r>
            <a:r>
              <a:rPr lang="ru-RU" sz="1600" i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) </a:t>
            </a: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BA3B218D-539A-09F5-1298-D90BAAEA69A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4553235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algn="ctr"/>
            <a:r>
              <a:rPr lang="ru-RU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ҚҚС АСЫП КЕТУІН ҚАЙТАРУ</a:t>
            </a:r>
            <a:endParaRPr lang="en-US" sz="2800" b="1" dirty="0">
              <a:solidFill>
                <a:srgbClr val="FFC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3"/>
          <p:cNvSpPr txBox="1">
            <a:spLocks/>
          </p:cNvSpPr>
          <p:nvPr/>
        </p:nvSpPr>
        <p:spPr>
          <a:xfrm>
            <a:off x="10960100" y="6115050"/>
            <a:ext cx="1142245" cy="6699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defRPr sz="12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4226082-FF36-41EB-9C07-F6F93B54EE83}" type="slidenum">
              <a:rPr lang="en-US" sz="1050" smtClean="0"/>
              <a:pPr/>
              <a:t>13</a:t>
            </a:fld>
            <a:endParaRPr lang="en-US" sz="105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BFC5FC5-402F-4E30-A38A-D598C7219262}"/>
              </a:ext>
            </a:extLst>
          </p:cNvPr>
          <p:cNvSpPr txBox="1"/>
          <p:nvPr/>
        </p:nvSpPr>
        <p:spPr>
          <a:xfrm>
            <a:off x="382386" y="928452"/>
            <a:ext cx="11130742" cy="33547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4" indent="-285750" algn="just">
              <a:lnSpc>
                <a:spcPct val="150000"/>
              </a:lnSpc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ҚС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ып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туін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йтару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өлдік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өлшерлеме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экспорт,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алықаралық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сымалдар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АЭА-да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ткізу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-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лпыға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ірдей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лгіленген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әртіппен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месе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ушінің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ңдауы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ңайлатылған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әртіппен</a:t>
            </a:r>
            <a:endParaRPr lang="ru-RU" sz="14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sz="1400" i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ru-RU" sz="14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өлдік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өлшерлеме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ұрақты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ткізу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зінде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ҚҚС </a:t>
            </a:r>
            <a:r>
              <a:rPr lang="ru-RU" sz="14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ып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кету </a:t>
            </a:r>
            <a:r>
              <a:rPr lang="ru-RU" sz="14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масына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) </a:t>
            </a:r>
            <a:r>
              <a:rPr lang="ru-RU" sz="14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ұрақты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ткізілмеген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ғдайда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ru-RU" sz="14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өлдік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өлшерлеме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натын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ткізу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йналым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қсаттары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йдаланылған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ТЖҚ </a:t>
            </a:r>
            <a:r>
              <a:rPr lang="ru-RU" sz="14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епке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тқызылған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ҚҚС </a:t>
            </a:r>
            <a:r>
              <a:rPr lang="ru-RU" sz="14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масының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ір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өлігіне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1400" i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</a:t>
            </a:r>
            <a:r>
              <a:rPr lang="ru-RU" sz="14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ұрақты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ткізу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3 </a:t>
            </a:r>
            <a:r>
              <a:rPr lang="ru-RU" sz="14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қсан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тарынан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өлдік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өлшерлеменің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лесі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70%-дан </a:t>
            </a:r>
            <a:r>
              <a:rPr lang="ru-RU" sz="14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уы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иіс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sz="1400" i="1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р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йнауын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йдалануға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налған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лісімшарт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ңберінде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еологиялық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рлауға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рналған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ығындар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ндіру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сталғаннан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йінгі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0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зеңі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шінде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– МЗЖ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4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  <a:endParaRPr lang="ru-RU" sz="1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sz="1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зақ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рзімді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лісімшарт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ылыс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ығындары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йдалануға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рілгеннен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йін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0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зеңі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шінде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ал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рі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вестициялық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балар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ылыс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зеңінде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55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ұмыс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үні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шінде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– МЗЖ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4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үргізіледі</a:t>
            </a:r>
            <a:endParaRPr lang="ru-RU" sz="14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DCE3981-6046-4B75-8A91-3AD79FB6BFDC}"/>
              </a:ext>
            </a:extLst>
          </p:cNvPr>
          <p:cNvSpPr txBox="1"/>
          <p:nvPr/>
        </p:nvSpPr>
        <p:spPr>
          <a:xfrm>
            <a:off x="382386" y="4441752"/>
            <a:ext cx="11230494" cy="17620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ептілігін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псыру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йінге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лдыруды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ю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йтару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рзімін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ір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йға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сқарады</a:t>
            </a:r>
            <a:r>
              <a:rPr lang="ru-RU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i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зең</a:t>
            </a:r>
            <a:r>
              <a:rPr lang="ru-RU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i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нді</a:t>
            </a:r>
            <a:r>
              <a:rPr lang="ru-RU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i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йінге</a:t>
            </a:r>
            <a:r>
              <a:rPr lang="ru-RU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i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лдыру</a:t>
            </a:r>
            <a:r>
              <a:rPr lang="ru-RU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i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рзімі</a:t>
            </a:r>
            <a:r>
              <a:rPr lang="ru-RU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i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яқталған</a:t>
            </a:r>
            <a:r>
              <a:rPr lang="ru-RU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i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үннен</a:t>
            </a:r>
            <a:r>
              <a:rPr lang="ru-RU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i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сталады</a:t>
            </a:r>
            <a:r>
              <a:rPr lang="ru-RU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ru-RU" sz="1600" i="1" kern="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ҚС-</a:t>
            </a:r>
            <a:r>
              <a:rPr lang="ru-RU" kern="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ың</a:t>
            </a:r>
            <a:r>
              <a:rPr lang="ru-RU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ып</a:t>
            </a:r>
            <a:r>
              <a:rPr lang="ru-RU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туі</a:t>
            </a:r>
            <a:r>
              <a:rPr lang="ru-RU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масы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ақтылы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йтарылмаған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kern="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ғдайда</a:t>
            </a:r>
            <a:r>
              <a:rPr lang="ru-RU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sz="1600" i="1" kern="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1600" i="1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ганының</a:t>
            </a:r>
            <a:r>
              <a:rPr lang="ru-RU" sz="1600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інәсі</a:t>
            </a:r>
            <a:r>
              <a:rPr lang="ru-RU" sz="1600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600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ru-RU" sz="1600" i="1" kern="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сімпұл</a:t>
            </a:r>
            <a:r>
              <a:rPr lang="ru-RU" sz="1600" i="1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kern="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ептеледі</a:t>
            </a:r>
            <a:endParaRPr lang="ru-RU" sz="1600" i="1" kern="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sz="1600" i="1" kern="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гер</a:t>
            </a:r>
            <a:r>
              <a:rPr lang="ru-RU" sz="1600" i="1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юджетте</a:t>
            </a:r>
            <a:r>
              <a:rPr lang="ru-RU" sz="1600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ажат</a:t>
            </a:r>
            <a:r>
              <a:rPr lang="ru-RU" sz="1600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ткіліксіз</a:t>
            </a:r>
            <a:r>
              <a:rPr lang="ru-RU" sz="1600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лса</a:t>
            </a:r>
            <a:r>
              <a:rPr lang="ru-RU" sz="1600" i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600" i="1" kern="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сімпұл</a:t>
            </a:r>
            <a:r>
              <a:rPr lang="ru-RU" sz="1600" i="1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kern="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ептелмейді</a:t>
            </a:r>
            <a:endParaRPr lang="ru-RU" sz="1600" i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752412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75281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algn="ctr"/>
            <a:r>
              <a:rPr lang="ru-RU" sz="2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ҚС ҚАЙТАРУДЫҢ </a:t>
            </a:r>
            <a:r>
              <a:rPr lang="ru-RU" sz="28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ЛПЫҒА БІРДЕЙ </a:t>
            </a:r>
            <a:r>
              <a:rPr lang="ru-RU" sz="2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ӘРТІБІ</a:t>
            </a:r>
            <a:endParaRPr lang="en-US" sz="28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Номер слайда 33"/>
          <p:cNvSpPr>
            <a:spLocks noGrp="1"/>
          </p:cNvSpPr>
          <p:nvPr>
            <p:ph type="sldNum" sz="quarter" idx="4294967295"/>
          </p:nvPr>
        </p:nvSpPr>
        <p:spPr>
          <a:xfrm>
            <a:off x="10960100" y="6115050"/>
            <a:ext cx="1142245" cy="669925"/>
          </a:xfrm>
        </p:spPr>
        <p:txBody>
          <a:bodyPr/>
          <a:lstStyle/>
          <a:p>
            <a:fld id="{C4226082-FF36-41EB-9C07-F6F93B54EE83}" type="slidenum">
              <a:rPr lang="en-US" sz="1050">
                <a:solidFill>
                  <a:prstClr val="black">
                    <a:tint val="75000"/>
                  </a:prstClr>
                </a:solidFill>
              </a:rPr>
              <a:pPr/>
              <a:t>14</a:t>
            </a:fld>
            <a:endParaRPr lang="en-US" sz="105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BFC5FC5-402F-4E30-A38A-D598C7219262}"/>
              </a:ext>
            </a:extLst>
          </p:cNvPr>
          <p:cNvSpPr txBox="1"/>
          <p:nvPr/>
        </p:nvSpPr>
        <p:spPr>
          <a:xfrm>
            <a:off x="514709" y="791365"/>
            <a:ext cx="11162582" cy="946413"/>
          </a:xfrm>
          <a:prstGeom prst="rect">
            <a:avLst/>
          </a:prstGeom>
          <a:noFill/>
          <a:ln>
            <a:noFill/>
            <a:prstDash val="dash"/>
          </a:ln>
        </p:spPr>
        <p:txBody>
          <a:bodyPr wrap="square">
            <a:spAutoFit/>
          </a:bodyPr>
          <a:lstStyle/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йтару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рзімі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ксеру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сталғанына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амастан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ептілікті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быс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ту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рзімі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ткен</a:t>
            </a:r>
            <a:r>
              <a:rPr lang="ru-RU" sz="1600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үннен</a:t>
            </a:r>
            <a:r>
              <a:rPr lang="ru-RU" sz="1600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стап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55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ұмыс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үні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ҚҚС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йтару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рзімі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ұрақты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ткізілмеген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ғдайда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75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ұмыс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үнінен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сқартылды</a:t>
            </a:r>
            <a:r>
              <a:rPr lang="ru-RU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.</a:t>
            </a:r>
            <a:endParaRPr lang="en-US" sz="1600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kk-KZ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 сұрақ тексеріледі: ҚҚС есептеудің дұрыстығы және ҚҚС қайтарылуын </a:t>
            </a:r>
            <a:r>
              <a:rPr lang="kk-KZ" sz="1600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стау</a:t>
            </a:r>
            <a:r>
              <a:rPr lang="kk-KZ" sz="16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ECF83033-FA70-4B58-8961-2DEDB19A4C03}"/>
              </a:ext>
            </a:extLst>
          </p:cNvPr>
          <p:cNvSpPr/>
          <p:nvPr/>
        </p:nvSpPr>
        <p:spPr>
          <a:xfrm>
            <a:off x="0" y="1780201"/>
            <a:ext cx="12192000" cy="509763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algn="ctr"/>
            <a:r>
              <a:rPr lang="ru-RU" sz="28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ҚС </a:t>
            </a:r>
            <a:r>
              <a:rPr lang="ru-RU" sz="2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ЙТАРУДЫҢ ОҢАЙЛАНДЫРЫЛҒАН ТӘРТІБІ</a:t>
            </a:r>
            <a:endParaRPr lang="en-US" sz="28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99796E4-C2FF-4A95-832C-BE2059000F33}"/>
              </a:ext>
            </a:extLst>
          </p:cNvPr>
          <p:cNvSpPr txBox="1"/>
          <p:nvPr/>
        </p:nvSpPr>
        <p:spPr>
          <a:xfrm>
            <a:off x="494526" y="2332387"/>
            <a:ext cx="11607819" cy="4147289"/>
          </a:xfrm>
          <a:prstGeom prst="rect">
            <a:avLst/>
          </a:prstGeom>
          <a:noFill/>
          <a:ln>
            <a:noFill/>
            <a:prstDash val="dash"/>
          </a:ln>
        </p:spPr>
        <p:txBody>
          <a:bodyPr wrap="square">
            <a:spAutoFit/>
          </a:bodyPr>
          <a:lstStyle/>
          <a:p>
            <a:pPr marL="285750" lvl="4" indent="-285750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йтарудың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ңайлатылған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әртібін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0" lvl="4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)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өлдік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өлшерлеме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натын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ткізу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йналымдар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лған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зде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ниторингінде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ұрған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0" lvl="4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)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гер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өлдік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өлшерлеме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йналымдар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лпы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йналымның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50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йызынан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кем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лмаса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лған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ушілер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лдануға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қылы</a:t>
            </a:r>
            <a:endParaRPr lang="ru-RU" sz="1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1400" i="1" dirty="0" err="1">
                <a:solidFill>
                  <a:srgbClr val="ED7D31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үгінгі</a:t>
            </a:r>
            <a:r>
              <a:rPr lang="ru-RU" sz="1400" i="1" dirty="0">
                <a:solidFill>
                  <a:srgbClr val="ED7D31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solidFill>
                  <a:srgbClr val="ED7D31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үні</a:t>
            </a:r>
            <a:r>
              <a:rPr lang="ru-RU" sz="1400" i="1" dirty="0">
                <a:solidFill>
                  <a:srgbClr val="ED7D31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solidFill>
                  <a:srgbClr val="ED7D31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кітілген</a:t>
            </a:r>
            <a:r>
              <a:rPr lang="ru-RU" sz="1400" i="1" dirty="0">
                <a:solidFill>
                  <a:srgbClr val="ED7D31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solidFill>
                  <a:srgbClr val="ED7D31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ізбе</a:t>
            </a:r>
            <a:r>
              <a:rPr lang="ru-RU" sz="1400" i="1" dirty="0">
                <a:solidFill>
                  <a:srgbClr val="ED7D31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solidFill>
                  <a:srgbClr val="ED7D31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400" i="1" dirty="0">
                <a:solidFill>
                  <a:srgbClr val="ED7D31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solidFill>
                  <a:srgbClr val="ED7D31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ниторингке</a:t>
            </a:r>
            <a:r>
              <a:rPr lang="ru-RU" sz="1400" i="1" dirty="0">
                <a:solidFill>
                  <a:srgbClr val="ED7D31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solidFill>
                  <a:srgbClr val="ED7D31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татын</a:t>
            </a:r>
            <a:r>
              <a:rPr lang="ru-RU" sz="1400" i="1" dirty="0">
                <a:solidFill>
                  <a:srgbClr val="ED7D31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solidFill>
                  <a:srgbClr val="ED7D31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рі</a:t>
            </a:r>
            <a:r>
              <a:rPr lang="ru-RU" sz="1400" i="1" dirty="0">
                <a:solidFill>
                  <a:srgbClr val="ED7D31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solidFill>
                  <a:srgbClr val="ED7D31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әсіпорындар</a:t>
            </a:r>
            <a:r>
              <a:rPr lang="ru-RU" sz="1400" i="1" dirty="0">
                <a:solidFill>
                  <a:srgbClr val="ED7D31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400" i="1" dirty="0" err="1">
                <a:solidFill>
                  <a:srgbClr val="ED7D31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ндірушілер</a:t>
            </a:r>
            <a:r>
              <a:rPr lang="ru-RU" sz="1400" i="1" dirty="0">
                <a:solidFill>
                  <a:srgbClr val="ED7D31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solidFill>
                  <a:srgbClr val="ED7D31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400" i="1" dirty="0">
                <a:solidFill>
                  <a:srgbClr val="ED7D31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solidFill>
                  <a:srgbClr val="ED7D31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икізат</a:t>
            </a:r>
            <a:r>
              <a:rPr lang="ru-RU" sz="1400" i="1" dirty="0">
                <a:solidFill>
                  <a:srgbClr val="ED7D31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solidFill>
                  <a:srgbClr val="ED7D31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кспорттаушылар</a:t>
            </a:r>
            <a:r>
              <a:rPr lang="ru-RU" sz="1400" i="1" dirty="0">
                <a:solidFill>
                  <a:srgbClr val="ED7D31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solidFill>
                  <a:srgbClr val="ED7D31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йтарудың</a:t>
            </a:r>
            <a:r>
              <a:rPr lang="ru-RU" sz="1400" i="1" dirty="0">
                <a:solidFill>
                  <a:srgbClr val="ED7D31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solidFill>
                  <a:srgbClr val="ED7D31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ңайлатылған</a:t>
            </a:r>
            <a:r>
              <a:rPr lang="ru-RU" sz="1400" i="1" dirty="0">
                <a:solidFill>
                  <a:srgbClr val="ED7D31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solidFill>
                  <a:srgbClr val="ED7D31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әртібін</a:t>
            </a:r>
            <a:r>
              <a:rPr lang="ru-RU" sz="1400" i="1" dirty="0">
                <a:solidFill>
                  <a:srgbClr val="ED7D31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solidFill>
                  <a:srgbClr val="ED7D31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лдануға</a:t>
            </a:r>
            <a:r>
              <a:rPr lang="ru-RU" sz="1400" i="1" dirty="0">
                <a:solidFill>
                  <a:srgbClr val="ED7D31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solidFill>
                  <a:srgbClr val="ED7D31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қылы</a:t>
            </a:r>
            <a:r>
              <a:rPr lang="ru-RU" sz="1400" i="1" dirty="0">
                <a:solidFill>
                  <a:srgbClr val="ED7D31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sz="1400" dirty="0">
              <a:solidFill>
                <a:srgbClr val="ED7D31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ір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згілде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ына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рттарға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әйкес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лген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зде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) </a:t>
            </a:r>
            <a:r>
              <a:rPr lang="ru-RU" sz="1400" i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ындалмаған</a:t>
            </a:r>
            <a:r>
              <a:rPr lang="ru-RU" sz="1400" i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абарлама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лмаған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зде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sz="14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үгінгі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үні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ru-RU" sz="14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тық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ептілікті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ақытылы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сынған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зде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;</a:t>
            </a: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) </a:t>
            </a:r>
            <a:r>
              <a:rPr lang="ru-RU" sz="14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ір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шінде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ксеру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әтижелері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йтаруға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сталған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ҚҚС </a:t>
            </a:r>
            <a:r>
              <a:rPr lang="ru-RU" sz="14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лған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ғдайда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ҚҚС </a:t>
            </a:r>
            <a:r>
              <a:rPr lang="ru-RU" sz="14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йтарылуға</a:t>
            </a:r>
            <a:r>
              <a:rPr lang="ru-RU" sz="14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тады</a:t>
            </a:r>
            <a:endParaRPr lang="ru-RU" sz="1400" i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йтару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рзімі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лап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тілген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үннен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стап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5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ұмыс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үні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үгінгі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үні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йінге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лдыруды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кере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ырып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тық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ептілікті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сыну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рзімі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яқталған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үннен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стап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r>
              <a:rPr lang="ru-RU" sz="1400" i="1" dirty="0" smtClean="0">
                <a:solidFill>
                  <a:srgbClr val="ED7D31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sz="1400" i="1" dirty="0">
              <a:solidFill>
                <a:srgbClr val="ED7D31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әуекелдерді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сқару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үйесі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лданылады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масына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ктеулер</a:t>
            </a:r>
            <a:r>
              <a:rPr lang="ru-RU" sz="14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қ</a:t>
            </a:r>
            <a:r>
              <a:rPr lang="ru-RU" sz="14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>
                <a:solidFill>
                  <a:srgbClr val="ED7D31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sz="1400" i="1" dirty="0" err="1">
                <a:solidFill>
                  <a:srgbClr val="ED7D31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үгінде</a:t>
            </a:r>
            <a:r>
              <a:rPr lang="ru-RU" sz="1400" i="1" dirty="0">
                <a:solidFill>
                  <a:srgbClr val="ED7D31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solidFill>
                  <a:srgbClr val="ED7D31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рі</a:t>
            </a:r>
            <a:r>
              <a:rPr lang="ru-RU" sz="1400" i="1" dirty="0">
                <a:solidFill>
                  <a:srgbClr val="ED7D31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Т </a:t>
            </a:r>
            <a:r>
              <a:rPr lang="ru-RU" sz="1400" i="1" dirty="0" err="1">
                <a:solidFill>
                  <a:srgbClr val="ED7D31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sz="1400" i="1" dirty="0">
                <a:solidFill>
                  <a:srgbClr val="ED7D31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70% - дан </a:t>
            </a:r>
            <a:r>
              <a:rPr lang="ru-RU" sz="1400" i="1" dirty="0" err="1">
                <a:solidFill>
                  <a:srgbClr val="ED7D31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пайды</a:t>
            </a:r>
            <a:r>
              <a:rPr lang="ru-RU" sz="1400" i="1" dirty="0">
                <a:solidFill>
                  <a:srgbClr val="ED7D31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400" i="1" dirty="0" err="1">
                <a:solidFill>
                  <a:srgbClr val="ED7D31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ндірушілер</a:t>
            </a:r>
            <a:r>
              <a:rPr lang="ru-RU" sz="1400" i="1" dirty="0">
                <a:solidFill>
                  <a:srgbClr val="ED7D31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solidFill>
                  <a:srgbClr val="ED7D31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sz="1400" i="1" dirty="0">
                <a:solidFill>
                  <a:srgbClr val="ED7D31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50% - дан </a:t>
            </a:r>
            <a:r>
              <a:rPr lang="ru-RU" sz="1400" i="1" dirty="0" err="1">
                <a:solidFill>
                  <a:srgbClr val="ED7D31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пайды</a:t>
            </a:r>
            <a:r>
              <a:rPr lang="ru-RU" sz="1400" i="1" dirty="0">
                <a:solidFill>
                  <a:srgbClr val="ED7D31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400" i="1" dirty="0" err="1">
                <a:solidFill>
                  <a:srgbClr val="ED7D31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икізат</a:t>
            </a:r>
            <a:r>
              <a:rPr lang="ru-RU" sz="1400" i="1" dirty="0">
                <a:solidFill>
                  <a:srgbClr val="ED7D31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solidFill>
                  <a:srgbClr val="ED7D31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кспорттаушылар</a:t>
            </a:r>
            <a:r>
              <a:rPr lang="ru-RU" sz="1400" i="1" dirty="0">
                <a:solidFill>
                  <a:srgbClr val="ED7D31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i="1" dirty="0" err="1">
                <a:solidFill>
                  <a:srgbClr val="ED7D31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sz="1400" i="1" dirty="0">
                <a:solidFill>
                  <a:srgbClr val="ED7D31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80% - дан </a:t>
            </a:r>
            <a:r>
              <a:rPr lang="ru-RU" sz="1400" i="1" dirty="0" err="1">
                <a:solidFill>
                  <a:srgbClr val="ED7D31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пайды</a:t>
            </a:r>
            <a:r>
              <a:rPr lang="ru-RU" sz="1400" i="1" dirty="0">
                <a:solidFill>
                  <a:srgbClr val="ED7D31">
                    <a:lumMod val="75000"/>
                  </a:srgb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.</a:t>
            </a:r>
            <a:endParaRPr lang="ru-RU" sz="1400" dirty="0">
              <a:solidFill>
                <a:srgbClr val="ED7D31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472990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0"/>
            <a:ext cx="12192000" cy="1032388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1200"/>
              </a:spcAft>
              <a:defRPr/>
            </a:pPr>
            <a:r>
              <a:rPr lang="kk-KZ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ТӨЛЕУ МЕРЗІМІН ӨЗГЕРТУ</a:t>
            </a:r>
            <a:endParaRPr lang="ru-RU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43839" y="1539901"/>
            <a:ext cx="10238677" cy="28700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42913" lvl="4" indent="544513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м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індеттемесін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ындау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рзімдерін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згерту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442913" lvl="4" indent="544513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) 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тарды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месе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мақыларды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у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йінге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лдыру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рзімін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зарту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;</a:t>
            </a:r>
          </a:p>
          <a:p>
            <a:pPr marL="442913" lvl="4" indent="544513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) 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мпортталатын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уарлар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сылған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н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ғын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у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рзімін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згерту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442913" lvl="4" indent="544513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) 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млекеттік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ж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у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йінге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лдыру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ысанында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үзеге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ырылады</a:t>
            </a:r>
            <a:endParaRPr lang="ru-RU" sz="20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638504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A4398A-5718-5E49-CD73-9B9B60FDE4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FEDD44C3-0560-60CD-8ED4-01085B8C7AC7}"/>
              </a:ext>
            </a:extLst>
          </p:cNvPr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635000" marR="0" lvl="1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АМЕРАЛДЫҚ БАҚЫЛАУ</a:t>
            </a:r>
            <a:endParaRPr kumimoji="0" lang="ru-RU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D4AB323-5BA9-0790-3484-9A1B579DC645}"/>
              </a:ext>
            </a:extLst>
          </p:cNvPr>
          <p:cNvSpPr txBox="1"/>
          <p:nvPr/>
        </p:nvSpPr>
        <p:spPr>
          <a:xfrm>
            <a:off x="487017" y="1589664"/>
            <a:ext cx="11452934" cy="20844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4" indent="0" algn="just" defTabSz="914400" rtl="0" eaLnBrk="1" fontAlgn="auto" latinLnBrk="0" hangingPunct="1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>
                <a:tab pos="10281920" algn="l"/>
              </a:tabLst>
              <a:defRPr/>
            </a:pPr>
            <a:r>
              <a:rPr kumimoji="0" lang="ru-RU" sz="1600" b="0" i="0" u="none" strike="noStrike" kern="1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ЭШФ </a:t>
            </a:r>
            <a:r>
              <a:rPr kumimoji="0" lang="ru-RU" sz="1600" b="0" i="0" u="none" strike="noStrike" kern="100" cap="none" spc="0" normalizeH="0" baseline="0" noProof="0" dirty="0" err="1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талдауы</a:t>
            </a:r>
            <a:r>
              <a:rPr kumimoji="0" lang="ru-RU" sz="1600" b="0" i="0" u="none" strike="noStrike" kern="1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 </a:t>
            </a:r>
            <a:r>
              <a:rPr kumimoji="0" lang="ru-RU" sz="1600" b="0" i="0" u="none" strike="noStrike" kern="100" cap="none" spc="0" normalizeH="0" baseline="0" noProof="0" dirty="0" err="1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камералдық</a:t>
            </a:r>
            <a:r>
              <a:rPr kumimoji="0" lang="ru-RU" sz="1600" b="0" i="0" u="none" strike="noStrike" kern="1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 </a:t>
            </a:r>
            <a:r>
              <a:rPr kumimoji="0" lang="ru-RU" sz="1600" b="0" i="0" u="none" strike="noStrike" kern="100" cap="none" spc="0" normalizeH="0" baseline="0" noProof="0" dirty="0" err="1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бақылаудан</a:t>
            </a:r>
            <a:r>
              <a:rPr kumimoji="0" lang="ru-RU" sz="1600" b="0" i="0" u="none" strike="noStrike" kern="1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 </a:t>
            </a:r>
            <a:r>
              <a:rPr kumimoji="0" lang="ru-RU" sz="1600" b="0" i="0" u="none" strike="noStrike" kern="100" cap="none" spc="0" normalizeH="0" baseline="0" noProof="0" dirty="0" err="1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бөлек</a:t>
            </a:r>
            <a:r>
              <a:rPr kumimoji="0" lang="ru-RU" sz="1600" b="0" i="0" u="none" strike="noStrike" kern="1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 </a:t>
            </a:r>
            <a:r>
              <a:rPr kumimoji="0" lang="ru-RU" sz="1600" b="0" i="0" u="none" strike="noStrike" kern="100" cap="none" spc="0" normalizeH="0" baseline="0" noProof="0" dirty="0" err="1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шығарылды</a:t>
            </a:r>
            <a:r>
              <a:rPr kumimoji="0" lang="ru-RU" sz="1600" b="0" i="0" u="none" strike="noStrike" kern="1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;</a:t>
            </a:r>
            <a:endParaRPr kumimoji="0" lang="ru-RU" sz="1600" b="0" i="0" u="none" strike="noStrike" kern="1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itchFamily="34" charset="0"/>
              <a:ea typeface="Tahoma" pitchFamily="34" charset="0"/>
              <a:cs typeface="Arial" pitchFamily="34" charset="0"/>
            </a:endParaRPr>
          </a:p>
          <a:p>
            <a:pPr marL="0" marR="0" lvl="4" indent="0" algn="just" defTabSz="914400" rtl="0" eaLnBrk="1" fontAlgn="auto" latinLnBrk="0" hangingPunct="1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>
                <a:tab pos="10281920" algn="l"/>
              </a:tabLst>
              <a:defRPr/>
            </a:pPr>
            <a:r>
              <a:rPr kumimoji="0" lang="ru-RU" sz="1600" b="0" i="0" u="none" strike="noStrike" kern="1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Салық</a:t>
            </a:r>
            <a:r>
              <a:rPr kumimoji="0" lang="ru-RU" sz="1600" b="0" i="0" u="none" strike="noStrike" kern="1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 </a:t>
            </a:r>
            <a:r>
              <a:rPr kumimoji="0" lang="ru-RU" sz="1600" b="0" i="0" u="none" strike="noStrike" kern="1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есептілігін</a:t>
            </a:r>
            <a:r>
              <a:rPr kumimoji="0" lang="ru-RU" sz="1600" b="0" i="0" u="none" strike="noStrike" kern="1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 </a:t>
            </a:r>
            <a:r>
              <a:rPr kumimoji="0" lang="ru-RU" sz="1600" b="0" i="0" u="none" strike="noStrike" kern="1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табыс</a:t>
            </a:r>
            <a:r>
              <a:rPr kumimoji="0" lang="ru-RU" sz="1600" b="0" i="0" u="none" strike="noStrike" kern="1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 </a:t>
            </a:r>
            <a:r>
              <a:rPr kumimoji="0" lang="ru-RU" sz="1600" b="0" i="0" u="none" strike="noStrike" kern="1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ету</a:t>
            </a:r>
            <a:r>
              <a:rPr kumimoji="0" lang="ru-RU" sz="1600" b="0" i="0" u="none" strike="noStrike" kern="1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 </a:t>
            </a:r>
            <a:r>
              <a:rPr kumimoji="0" lang="ru-RU" sz="1600" b="0" i="0" u="none" strike="noStrike" kern="1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мерзімі</a:t>
            </a:r>
            <a:r>
              <a:rPr kumimoji="0" lang="ru-RU" sz="1600" b="0" i="0" u="none" strike="noStrike" kern="1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 </a:t>
            </a:r>
            <a:r>
              <a:rPr kumimoji="0" lang="ru-RU" sz="1600" b="0" i="0" u="none" strike="noStrike" kern="1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өткеннен</a:t>
            </a:r>
            <a:r>
              <a:rPr kumimoji="0" lang="ru-RU" sz="1600" b="0" i="0" u="none" strike="noStrike" kern="1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 </a:t>
            </a:r>
            <a:r>
              <a:rPr kumimoji="0" lang="ru-RU" sz="1600" b="0" i="0" u="none" strike="noStrike" kern="1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кейін</a:t>
            </a:r>
            <a:r>
              <a:rPr kumimoji="0" lang="ru-RU" sz="1600" b="0" i="0" u="none" strike="noStrike" kern="1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 </a:t>
            </a:r>
            <a:r>
              <a:rPr kumimoji="0" lang="ru-RU" sz="1600" b="0" i="0" u="none" strike="noStrike" kern="1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тиісті</a:t>
            </a:r>
            <a:r>
              <a:rPr kumimoji="0" lang="ru-RU" sz="1600" b="0" i="0" u="none" strike="noStrike" kern="1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 </a:t>
            </a:r>
            <a:r>
              <a:rPr kumimoji="0" lang="ru-RU" sz="1600" b="0" i="0" u="none" strike="noStrike" kern="1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салық</a:t>
            </a:r>
            <a:r>
              <a:rPr kumimoji="0" lang="ru-RU" sz="1600" b="0" i="0" u="none" strike="noStrike" kern="1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 </a:t>
            </a:r>
            <a:r>
              <a:rPr kumimoji="0" lang="ru-RU" sz="1600" b="0" i="0" u="none" strike="noStrike" kern="1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кезеңі</a:t>
            </a:r>
            <a:r>
              <a:rPr kumimoji="0" lang="ru-RU" sz="1600" b="0" i="0" u="none" strike="noStrike" kern="1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 </a:t>
            </a:r>
            <a:r>
              <a:rPr kumimoji="0" lang="ru-RU" sz="1600" b="0" i="0" u="none" strike="noStrike" kern="1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үшін</a:t>
            </a:r>
            <a:r>
              <a:rPr kumimoji="0" lang="ru-RU" sz="1600" b="0" i="0" u="none" strike="noStrike" kern="1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 </a:t>
            </a:r>
            <a:r>
              <a:rPr kumimoji="0" lang="ru-RU" sz="1600" b="0" i="0" u="none" strike="noStrike" kern="100" cap="none" spc="0" normalizeH="0" baseline="0" noProof="0" dirty="0" err="1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жүргізіледі</a:t>
            </a:r>
            <a:r>
              <a:rPr kumimoji="0" lang="ru-RU" sz="1600" b="0" i="0" u="none" strike="noStrike" kern="1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;</a:t>
            </a:r>
            <a:endParaRPr kumimoji="0" lang="ru-RU" sz="1600" b="0" i="0" u="none" strike="noStrike" kern="1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itchFamily="34" charset="0"/>
              <a:ea typeface="Tahoma" pitchFamily="34" charset="0"/>
              <a:cs typeface="Arial" pitchFamily="34" charset="0"/>
            </a:endParaRPr>
          </a:p>
          <a:p>
            <a:pPr marL="0" marR="0" lvl="4" indent="0" algn="just" defTabSz="914400" rtl="0" eaLnBrk="1" fontAlgn="auto" latinLnBrk="0" hangingPunct="1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>
                <a:tab pos="10281920" algn="l"/>
              </a:tabLst>
              <a:defRPr/>
            </a:pPr>
            <a:r>
              <a:rPr kumimoji="0" lang="ru-RU" sz="1600" b="0" i="0" u="none" strike="noStrike" kern="1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Талап</a:t>
            </a:r>
            <a:r>
              <a:rPr kumimoji="0" lang="ru-RU" sz="1600" b="0" i="0" u="none" strike="noStrike" kern="1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 </a:t>
            </a:r>
            <a:r>
              <a:rPr kumimoji="0" lang="ru-RU" sz="1600" b="0" i="0" u="none" strike="noStrike" kern="1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қою</a:t>
            </a:r>
            <a:r>
              <a:rPr kumimoji="0" lang="ru-RU" sz="1600" b="0" i="0" u="none" strike="noStrike" kern="1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 </a:t>
            </a:r>
            <a:r>
              <a:rPr kumimoji="0" lang="ru-RU" sz="1600" b="0" i="0" u="none" strike="noStrike" kern="1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мерзімі</a:t>
            </a:r>
            <a:r>
              <a:rPr kumimoji="0" lang="ru-RU" sz="1600" b="0" i="0" u="none" strike="noStrike" kern="1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 </a:t>
            </a:r>
            <a:r>
              <a:rPr kumimoji="0" lang="ru-RU" sz="1600" b="0" i="0" u="none" strike="noStrike" kern="1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ішінде</a:t>
            </a:r>
            <a:r>
              <a:rPr kumimoji="0" lang="ru-RU" sz="1600" b="0" i="0" u="none" strike="noStrike" kern="1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 </a:t>
            </a:r>
            <a:r>
              <a:rPr kumimoji="0" lang="ru-RU" sz="1600" b="0" i="0" u="none" strike="noStrike" kern="1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жүргізіледі</a:t>
            </a:r>
            <a:r>
              <a:rPr kumimoji="0" lang="ru-RU" sz="1600" b="0" i="0" u="none" strike="noStrike" kern="1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;</a:t>
            </a:r>
          </a:p>
          <a:p>
            <a:pPr marL="0" marR="0" lvl="4" indent="0" algn="just" defTabSz="914400" rtl="0" eaLnBrk="1" fontAlgn="auto" latinLnBrk="0" hangingPunct="1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>
                <a:tab pos="10281920" algn="l"/>
              </a:tabLst>
              <a:defRPr/>
            </a:pPr>
            <a:r>
              <a:rPr kumimoji="0" lang="ru-RU" sz="1600" b="0" i="0" u="none" strike="noStrike" kern="1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Алшақтықтар</a:t>
            </a:r>
            <a:r>
              <a:rPr kumimoji="0" lang="ru-RU" sz="1600" b="0" i="0" u="none" strike="noStrike" kern="1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 </a:t>
            </a:r>
            <a:r>
              <a:rPr kumimoji="0" lang="ru-RU" sz="1600" b="0" i="0" u="none" strike="noStrike" kern="1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анықталған</a:t>
            </a:r>
            <a:r>
              <a:rPr kumimoji="0" lang="ru-RU" sz="1600" b="0" i="0" u="none" strike="noStrike" kern="1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 </a:t>
            </a:r>
            <a:r>
              <a:rPr kumimoji="0" lang="ru-RU" sz="1600" b="0" i="0" u="none" strike="noStrike" kern="1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кезде</a:t>
            </a:r>
            <a:r>
              <a:rPr kumimoji="0" lang="ru-RU" sz="1600" b="0" i="0" u="none" strike="noStrike" kern="1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 </a:t>
            </a:r>
            <a:r>
              <a:rPr kumimoji="0" lang="ru-RU" sz="1600" b="0" i="0" u="none" strike="noStrike" kern="1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камералдық</a:t>
            </a:r>
            <a:r>
              <a:rPr kumimoji="0" lang="ru-RU" sz="1600" b="0" i="0" u="none" strike="noStrike" kern="1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 </a:t>
            </a:r>
            <a:r>
              <a:rPr kumimoji="0" lang="ru-RU" sz="1600" b="0" i="0" u="none" strike="noStrike" kern="1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бақылау</a:t>
            </a:r>
            <a:r>
              <a:rPr kumimoji="0" lang="ru-RU" sz="1600" b="0" i="0" u="none" strike="noStrike" kern="1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 </a:t>
            </a:r>
            <a:r>
              <a:rPr kumimoji="0" lang="ru-RU" sz="1600" b="0" i="0" u="none" strike="noStrike" kern="1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нәтижелері</a:t>
            </a:r>
            <a:r>
              <a:rPr kumimoji="0" lang="ru-RU" sz="1600" b="0" i="0" u="none" strike="noStrike" kern="1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 </a:t>
            </a:r>
            <a:r>
              <a:rPr kumimoji="0" lang="ru-RU" sz="1600" b="0" i="0" u="none" strike="noStrike" kern="1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бойынша</a:t>
            </a:r>
            <a:r>
              <a:rPr kumimoji="0" lang="ru-RU" sz="1600" b="0" i="0" u="none" strike="noStrike" kern="1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 </a:t>
            </a:r>
            <a:r>
              <a:rPr kumimoji="0" lang="ru-RU" sz="1600" b="0" i="0" u="none" strike="noStrike" kern="1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болжамды</a:t>
            </a:r>
            <a:r>
              <a:rPr kumimoji="0" lang="ru-RU" sz="1600" b="0" i="0" u="none" strike="noStrike" kern="1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 </a:t>
            </a:r>
            <a:r>
              <a:rPr kumimoji="0" lang="ru-RU" sz="1600" b="0" i="0" u="none" strike="noStrike" kern="1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алшақтықтар</a:t>
            </a:r>
            <a:r>
              <a:rPr kumimoji="0" lang="ru-RU" sz="1600" b="0" i="0" u="none" strike="noStrike" kern="1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 </a:t>
            </a:r>
            <a:r>
              <a:rPr kumimoji="0" lang="ru-RU" sz="1600" b="0" i="0" u="none" strike="noStrike" kern="1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туралы</a:t>
            </a:r>
            <a:r>
              <a:rPr kumimoji="0" lang="ru-RU" sz="1600" b="0" i="0" u="none" strike="noStrike" kern="1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 </a:t>
            </a:r>
            <a:r>
              <a:rPr kumimoji="0" lang="ru-RU" sz="1600" b="0" i="0" u="none" strike="noStrike" kern="1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хабарлама</a:t>
            </a:r>
            <a:r>
              <a:rPr kumimoji="0" lang="ru-RU" sz="1600" b="0" i="0" u="none" strike="noStrike" kern="1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 </a:t>
            </a:r>
            <a:r>
              <a:rPr kumimoji="0" lang="ru-RU" sz="1600" b="0" i="0" u="none" strike="noStrike" kern="1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жіберіледі</a:t>
            </a:r>
            <a:r>
              <a:rPr kumimoji="0" lang="ru-RU" sz="1600" b="0" i="0" u="none" strike="noStrike" kern="1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. </a:t>
            </a:r>
          </a:p>
          <a:p>
            <a:pPr marL="0" marR="0" lvl="4" indent="0" algn="just" defTabSz="914400" rtl="0" eaLnBrk="1" fontAlgn="auto" latinLnBrk="0" hangingPunct="1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>
                <a:tab pos="10281920" algn="l"/>
              </a:tabLst>
              <a:defRPr/>
            </a:pPr>
            <a:endParaRPr kumimoji="0" lang="ru-RU" sz="1600" b="0" i="0" u="none" strike="noStrike" kern="1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itchFamily="34" charset="0"/>
              <a:ea typeface="Tahoma" pitchFamily="34" charset="0"/>
              <a:cs typeface="Arial" pitchFamily="34" charset="0"/>
            </a:endParaRPr>
          </a:p>
        </p:txBody>
      </p: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D601911B-F5F7-05CC-AB48-263451AEA87B}"/>
              </a:ext>
            </a:extLst>
          </p:cNvPr>
          <p:cNvSpPr/>
          <p:nvPr/>
        </p:nvSpPr>
        <p:spPr>
          <a:xfrm>
            <a:off x="487017" y="1039999"/>
            <a:ext cx="11452937" cy="53975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4" indent="0" algn="just" defTabSz="914400" rtl="0" eaLnBrk="1" fontAlgn="auto" latinLnBrk="0" hangingPunct="1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>
                <a:tab pos="10281920" algn="l"/>
              </a:tabLst>
              <a:defRPr/>
            </a:pPr>
            <a:r>
              <a:rPr kumimoji="0" lang="ru-RU" sz="1800" b="1" i="0" u="none" strike="noStrike" kern="100" cap="none" spc="0" normalizeH="0" baseline="0" noProof="0" dirty="0" err="1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Камералдық</a:t>
            </a:r>
            <a:r>
              <a:rPr kumimoji="0" lang="ru-RU" sz="1800" b="1" i="0" u="none" strike="noStrike" kern="1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ru-RU" sz="1800" b="1" i="0" u="none" strike="noStrike" kern="100" cap="none" spc="0" normalizeH="0" baseline="0" noProof="0" dirty="0" err="1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бақылау</a:t>
            </a:r>
            <a:r>
              <a:rPr kumimoji="0" lang="ru-RU" sz="1800" b="1" i="0" u="none" strike="noStrike" kern="1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ru-RU" sz="1800" b="1" i="0" u="none" strike="noStrike" kern="100" cap="none" spc="0" normalizeH="0" baseline="0" noProof="0" dirty="0" err="1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жүргізу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0EE623F9-3E13-652D-D37C-8B121858EE2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32B3DF5D-5900-2F6D-4B1B-92CB9A793205}"/>
              </a:ext>
            </a:extLst>
          </p:cNvPr>
          <p:cNvSpPr/>
          <p:nvPr/>
        </p:nvSpPr>
        <p:spPr>
          <a:xfrm>
            <a:off x="586409" y="3522297"/>
            <a:ext cx="11378456" cy="46028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4" indent="0" algn="just" defTabSz="914400" rtl="0" eaLnBrk="1" fontAlgn="auto" latinLnBrk="0" hangingPunct="1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>
                <a:tab pos="10281920" algn="l"/>
              </a:tabLst>
              <a:defRPr/>
            </a:pPr>
            <a:r>
              <a:rPr kumimoji="0" lang="ru-RU" sz="18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Орындалу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: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561495" y="4067606"/>
            <a:ext cx="11378456" cy="92698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1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келісу</a:t>
            </a:r>
            <a:r>
              <a:rPr kumimoji="0" lang="ru-RU" sz="1600" b="0" i="0" u="none" strike="noStrike" kern="1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 </a:t>
            </a:r>
            <a:r>
              <a:rPr kumimoji="0" lang="ru-RU" sz="1600" b="0" i="0" u="none" strike="noStrike" kern="1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кезінде-салық</a:t>
            </a:r>
            <a:r>
              <a:rPr kumimoji="0" lang="ru-RU" sz="1600" b="0" i="0" u="none" strike="noStrike" kern="1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 </a:t>
            </a:r>
            <a:r>
              <a:rPr kumimoji="0" lang="ru-RU" sz="1600" b="0" i="0" u="none" strike="noStrike" kern="1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есептілігі</a:t>
            </a:r>
            <a:r>
              <a:rPr kumimoji="0" lang="ru-RU" sz="1600" b="0" i="0" u="none" strike="noStrike" kern="1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 </a:t>
            </a:r>
            <a:r>
              <a:rPr kumimoji="0" lang="ru-RU" sz="1600" b="0" i="0" u="none" strike="noStrike" kern="1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ұсынылады</a:t>
            </a:r>
            <a:r>
              <a:rPr kumimoji="0" lang="ru-RU" sz="1600" b="0" i="0" u="none" strike="noStrike" kern="1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, </a:t>
            </a:r>
            <a:r>
              <a:rPr kumimoji="0" lang="ru-RU" sz="1600" b="0" i="0" u="none" strike="noStrike" kern="1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салық</a:t>
            </a:r>
            <a:r>
              <a:rPr kumimoji="0" lang="ru-RU" sz="1600" b="0" i="0" u="none" strike="noStrike" kern="1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 </a:t>
            </a:r>
            <a:r>
              <a:rPr kumimoji="0" lang="ru-RU" sz="1600" b="0" i="0" u="none" strike="noStrike" kern="1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төлеушінің</a:t>
            </a:r>
            <a:r>
              <a:rPr kumimoji="0" lang="ru-RU" sz="1600" b="0" i="0" u="none" strike="noStrike" kern="1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 (</a:t>
            </a:r>
            <a:r>
              <a:rPr kumimoji="0" lang="ru-RU" sz="1600" b="0" i="0" u="none" strike="noStrike" kern="1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салық</a:t>
            </a:r>
            <a:r>
              <a:rPr kumimoji="0" lang="ru-RU" sz="1600" b="0" i="0" u="none" strike="noStrike" kern="1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 </a:t>
            </a:r>
            <a:r>
              <a:rPr kumimoji="0" lang="ru-RU" sz="1600" b="0" i="0" u="none" strike="noStrike" kern="1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агентінің</a:t>
            </a:r>
            <a:r>
              <a:rPr kumimoji="0" lang="ru-RU" sz="1600" b="0" i="0" u="none" strike="noStrike" kern="1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) </a:t>
            </a:r>
            <a:r>
              <a:rPr kumimoji="0" lang="ru-RU" sz="1600" b="0" i="0" u="none" strike="noStrike" kern="1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талабы</a:t>
            </a:r>
            <a:r>
              <a:rPr kumimoji="0" lang="ru-RU" sz="1600" b="0" i="0" u="none" strike="noStrike" kern="1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 </a:t>
            </a:r>
            <a:r>
              <a:rPr kumimoji="0" lang="ru-RU" sz="1600" b="0" i="0" u="none" strike="noStrike" kern="1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бойынша</a:t>
            </a:r>
            <a:r>
              <a:rPr kumimoji="0" lang="ru-RU" sz="1600" b="0" i="0" u="none" strike="noStrike" kern="1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 </a:t>
            </a:r>
            <a:r>
              <a:rPr kumimoji="0" lang="ru-RU" sz="1600" b="0" i="0" u="none" strike="noStrike" kern="1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бюджеттен</a:t>
            </a:r>
            <a:r>
              <a:rPr kumimoji="0" lang="ru-RU" sz="1600" b="0" i="0" u="none" strike="noStrike" kern="1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 </a:t>
            </a:r>
            <a:r>
              <a:rPr kumimoji="0" lang="ru-RU" sz="1600" b="0" i="0" u="none" strike="noStrike" kern="1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бұрын</a:t>
            </a:r>
            <a:r>
              <a:rPr kumimoji="0" lang="ru-RU" sz="1600" b="0" i="0" u="none" strike="noStrike" kern="1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 </a:t>
            </a:r>
            <a:r>
              <a:rPr kumimoji="0" lang="ru-RU" sz="1600" b="0" i="0" u="none" strike="noStrike" kern="1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қайтарылған</a:t>
            </a:r>
            <a:r>
              <a:rPr kumimoji="0" lang="ru-RU" sz="1600" b="0" i="0" u="none" strike="noStrike" kern="1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 ҚҚС </a:t>
            </a:r>
            <a:r>
              <a:rPr kumimoji="0" lang="ru-RU" sz="1600" b="0" i="0" u="none" strike="noStrike" kern="1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сомасы</a:t>
            </a:r>
            <a:r>
              <a:rPr kumimoji="0" lang="ru-RU" sz="1600" b="0" i="0" u="none" strike="noStrike" kern="1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 </a:t>
            </a:r>
            <a:r>
              <a:rPr kumimoji="0" lang="ru-RU" sz="1600" b="0" i="0" u="none" strike="noStrike" kern="1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және</a:t>
            </a:r>
            <a:r>
              <a:rPr kumimoji="0" lang="ru-RU" sz="1600" b="0" i="0" u="none" strike="noStrike" kern="1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 </a:t>
            </a:r>
            <a:r>
              <a:rPr kumimoji="0" lang="ru-RU" sz="1600" b="0" i="0" u="none" strike="noStrike" kern="1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өсімпұл</a:t>
            </a:r>
            <a:r>
              <a:rPr kumimoji="0" lang="ru-RU" sz="1600" b="0" i="0" u="none" strike="noStrike" kern="1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 </a:t>
            </a:r>
            <a:r>
              <a:rPr kumimoji="0" lang="ru-RU" sz="1600" b="0" i="0" u="none" strike="noStrike" kern="1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төленеді</a:t>
            </a:r>
            <a:r>
              <a:rPr kumimoji="0" lang="ru-RU" sz="1600" b="0" i="0" u="none" strike="noStrike" kern="1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;</a:t>
            </a:r>
          </a:p>
          <a:p>
            <a:pPr marL="0" marR="0" lvl="0" indent="0" algn="just" defTabSz="914400" rtl="0" eaLnBrk="1" fontAlgn="auto" latinLnBrk="0" hangingPunct="1">
              <a:lnSpc>
                <a:spcPct val="113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келіспеген</a:t>
            </a:r>
            <a:r>
              <a:rPr kumimoji="0" lang="ru-RU" sz="1600" b="0" i="0" u="none" strike="noStrike" kern="1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 </a:t>
            </a:r>
            <a:r>
              <a:rPr kumimoji="0" lang="ru-RU" sz="1600" b="0" i="0" u="none" strike="noStrike" kern="1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жағдайда-түсініктеме</a:t>
            </a:r>
            <a:r>
              <a:rPr kumimoji="0" lang="ru-RU" sz="1600" b="0" i="0" u="none" strike="noStrike" kern="1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 </a:t>
            </a:r>
            <a:r>
              <a:rPr kumimoji="0" lang="ru-RU" sz="1600" b="0" i="0" u="none" strike="noStrike" kern="1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беріледі</a:t>
            </a:r>
            <a:r>
              <a:rPr kumimoji="0" lang="ru-RU" sz="1600" b="0" i="0" u="none" strike="noStrike" kern="1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Tahoma" pitchFamily="34" charset="0"/>
                <a:cs typeface="Arial" pitchFamily="34" charset="0"/>
              </a:rPr>
              <a:t>.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32B3DF5D-5900-2F6D-4B1B-92CB9A793205}"/>
              </a:ext>
            </a:extLst>
          </p:cNvPr>
          <p:cNvSpPr/>
          <p:nvPr/>
        </p:nvSpPr>
        <p:spPr>
          <a:xfrm>
            <a:off x="665922" y="5251731"/>
            <a:ext cx="11382145" cy="1019596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4" indent="0" algn="just" defTabSz="914400" rtl="0" eaLnBrk="1" fontAlgn="auto" latinLnBrk="0" hangingPunct="1">
              <a:lnSpc>
                <a:spcPct val="114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Tx/>
              <a:buFontTx/>
              <a:buNone/>
              <a:tabLst>
                <a:tab pos="10281920" algn="l"/>
              </a:tabLst>
              <a:defRPr/>
            </a:pPr>
            <a:r>
              <a:rPr kumimoji="0" lang="ru-RU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Нәтижесі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: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салық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органы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түсіндірмеде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баяндалған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әлелдердің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ұрыстығын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растау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үшін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немесе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хабарламаны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мерзімінде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орындамаған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кезде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камералдық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бақылау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нәтижелері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бойынша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анықталған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ru-RU" sz="18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алшақтықтар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бойынша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салықтық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тексеру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жүргізуге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ru-RU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құқылы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1933113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algn="ctr"/>
            <a:r>
              <a:rPr lang="kk-KZ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ЭШФ</a:t>
            </a:r>
            <a:r>
              <a:rPr lang="en-US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kk-KZ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ЖАЗЫП БЕРУДІ АВТОМАТТАНДЫРЫЛҒАН БАҚЫЛАУ</a:t>
            </a:r>
            <a:endParaRPr 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Номер слайда 33"/>
          <p:cNvSpPr>
            <a:spLocks noGrp="1"/>
          </p:cNvSpPr>
          <p:nvPr>
            <p:ph type="sldNum" sz="quarter" idx="4294967295"/>
          </p:nvPr>
        </p:nvSpPr>
        <p:spPr>
          <a:xfrm>
            <a:off x="10960100" y="6115050"/>
            <a:ext cx="1142245" cy="669925"/>
          </a:xfrm>
        </p:spPr>
        <p:txBody>
          <a:bodyPr/>
          <a:lstStyle/>
          <a:p>
            <a:fld id="{C4226082-FF36-41EB-9C07-F6F93B54EE83}" type="slidenum">
              <a:rPr lang="en-US" sz="1050" smtClean="0"/>
              <a:t>17</a:t>
            </a:fld>
            <a:endParaRPr lang="en-US" sz="105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BFC5FC5-402F-4E30-A38A-D598C7219262}"/>
              </a:ext>
            </a:extLst>
          </p:cNvPr>
          <p:cNvSpPr txBox="1"/>
          <p:nvPr/>
        </p:nvSpPr>
        <p:spPr>
          <a:xfrm>
            <a:off x="400968" y="1316083"/>
            <a:ext cx="11390063" cy="48320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4" indent="-285750" algn="just">
              <a:spcBef>
                <a:spcPts val="900"/>
              </a:spcBef>
              <a:spcAft>
                <a:spcPts val="300"/>
              </a:spcAft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ШФ </a:t>
            </a:r>
            <a:r>
              <a:rPr lang="ru-RU" sz="16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зып</a:t>
            </a:r>
            <a:r>
              <a:rPr 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ру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зінде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әуекелді</a:t>
            </a:r>
            <a:r>
              <a:rPr 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Т-</a:t>
            </a:r>
            <a:r>
              <a:rPr lang="ru-RU" sz="16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ға</a:t>
            </a:r>
            <a:r>
              <a:rPr 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лданылады</a:t>
            </a:r>
            <a:r>
              <a:rPr 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СТ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наттарын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зақстан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спубликасының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жы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нистрлігі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кітеді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ңадан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іркелген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йта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іркелген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керлердің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ң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аз саны бар ҚҚС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ушілер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.б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)</a:t>
            </a:r>
            <a:r>
              <a:rPr lang="ru-RU" sz="1600" i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  <a:endParaRPr lang="ru-RU" sz="1600" i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spcAft>
                <a:spcPts val="300"/>
              </a:spcAft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kk-KZ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ШФ жазып беру басталған </a:t>
            </a:r>
            <a:r>
              <a:rPr lang="ru-RU" sz="16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үннен</a:t>
            </a:r>
            <a:r>
              <a:rPr 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стап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ыл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шінде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лданылады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6 ай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шінде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ұрақты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мдер</a:t>
            </a:r>
            <a:r>
              <a:rPr 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зінде</a:t>
            </a:r>
            <a:r>
              <a:rPr 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қылаудан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ып</a:t>
            </a:r>
            <a:r>
              <a:rPr 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сталады</a:t>
            </a:r>
            <a:r>
              <a:rPr lang="ru-RU" sz="16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  <a:endParaRPr lang="ru-RU" sz="1600" b="1" i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spcAft>
                <a:spcPts val="300"/>
              </a:spcAft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ҚС-</a:t>
            </a:r>
            <a:r>
              <a:rPr lang="ru-RU" sz="16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ің</a:t>
            </a:r>
            <a:r>
              <a:rPr 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ң</a:t>
            </a:r>
            <a:r>
              <a:rPr 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ңгерімі</a:t>
            </a:r>
            <a:r>
              <a:rPr 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зінде</a:t>
            </a:r>
            <a:r>
              <a:rPr 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ғана</a:t>
            </a:r>
            <a:r>
              <a:rPr 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ЭШФ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зып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ріледі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гер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ңгерім</a:t>
            </a:r>
            <a:r>
              <a:rPr 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ткіліксіз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лса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 </a:t>
            </a:r>
            <a:r>
              <a:rPr lang="ru-RU" sz="160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қшамен</a:t>
            </a:r>
            <a:r>
              <a:rPr 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лықтыруға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қылы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  <a:endParaRPr lang="ru-RU" sz="160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spcAft>
                <a:spcPts val="300"/>
              </a:spcAft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spcAft>
                <a:spcPts val="300"/>
              </a:spcAft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endParaRPr lang="ru-RU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spcAft>
                <a:spcPts val="300"/>
              </a:spcAft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ШФ </a:t>
            </a:r>
            <a:r>
              <a:rPr lang="ru-RU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зып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беру </a:t>
            </a:r>
            <a:r>
              <a:rPr lang="ru-RU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ұмсалға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қша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юджетк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үседі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йдаланылмаға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қша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йтарылад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 </a:t>
            </a:r>
            <a:endParaRPr lang="ru-RU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lvl="4" indent="-285750" algn="just">
              <a:spcBef>
                <a:spcPts val="900"/>
              </a:spcBef>
              <a:spcAft>
                <a:spcPts val="300"/>
              </a:spcAft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ептеулер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үргізу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ҚҚС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кімшілендірудің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налитикалық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үйесі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ылд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ңгерім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рбір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зып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рілген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ЭШФ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йта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ептеледі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 </a:t>
            </a:r>
          </a:p>
          <a:p>
            <a:pPr marL="285750" lvl="4" indent="-285750" algn="just">
              <a:spcBef>
                <a:spcPts val="900"/>
              </a:spcBef>
              <a:spcAft>
                <a:spcPts val="300"/>
              </a:spcAft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втоматтандырылға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қылау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ераторы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зақста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спубликасының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ж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нистрлігі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зақста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спубликас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рж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инистрлігінің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00%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ншілес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йым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«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ЕО» 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Қ)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кітеді</a:t>
            </a: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lang="ru-RU" sz="1400" i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1400" i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BFC5FC5-402F-4E30-A38A-D598C7219262}"/>
              </a:ext>
            </a:extLst>
          </p:cNvPr>
          <p:cNvSpPr txBox="1"/>
          <p:nvPr/>
        </p:nvSpPr>
        <p:spPr>
          <a:xfrm>
            <a:off x="469980" y="3434069"/>
            <a:ext cx="11390063" cy="861774"/>
          </a:xfrm>
          <a:prstGeom prst="rect">
            <a:avLst/>
          </a:prstGeom>
          <a:noFill/>
          <a:ln>
            <a:solidFill>
              <a:schemeClr val="tx1"/>
            </a:solidFill>
            <a:prstDash val="dash"/>
          </a:ln>
        </p:spPr>
        <p:txBody>
          <a:bodyPr wrap="square">
            <a:spAutoFit/>
          </a:bodyPr>
          <a:lstStyle/>
          <a:p>
            <a:pPr marL="0" lvl="4" algn="just"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ҚҚС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ңгерімі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ҚС-пен </a:t>
            </a:r>
            <a:r>
              <a:rPr lang="ru-RU" sz="1600" i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ығыстарды</a:t>
            </a:r>
            <a:r>
              <a:rPr lang="ru-RU" sz="1600" i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кере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ырып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ынған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ЭШФ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ҚҚС + импорт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нген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ҚҚС + </a:t>
            </a:r>
            <a:r>
              <a:rPr lang="ru-RU" sz="1600" i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йрезидент</a:t>
            </a:r>
            <a:r>
              <a:rPr lang="ru-RU" sz="1600" i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үшін</a:t>
            </a:r>
            <a:r>
              <a:rPr lang="ru-RU" sz="1600" i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ҚС + </a:t>
            </a:r>
            <a:r>
              <a:rPr lang="ru-RU" sz="1600" i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епке</a:t>
            </a:r>
            <a:r>
              <a:rPr lang="ru-RU" sz="1600" i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ю</a:t>
            </a:r>
            <a:r>
              <a:rPr lang="ru-RU" sz="1600" i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зінде</a:t>
            </a:r>
            <a:r>
              <a:rPr lang="ru-RU" sz="1600" i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уарлар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лдығы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ҚҚС – </a:t>
            </a:r>
            <a:r>
              <a:rPr lang="ru-RU" sz="1600" i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зып</a:t>
            </a:r>
            <a:r>
              <a:rPr lang="ru-RU" sz="1600" i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рілген</a:t>
            </a:r>
            <a:r>
              <a:rPr lang="ru-RU" sz="1600" i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ШФ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ҚҚС –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іркеуден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ығару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зіндегі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уарлар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лдығы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600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ҚҚС) </a:t>
            </a:r>
            <a:r>
              <a:rPr lang="ru-RU" sz="1600" i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лыптастырылады</a:t>
            </a:r>
            <a:r>
              <a:rPr lang="ru-RU" sz="1600" i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sz="800" b="1" i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3105876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algn="ctr"/>
            <a:r>
              <a:rPr lang="ru-RU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ЭЛЕКТРОНДЫ</a:t>
            </a:r>
            <a:r>
              <a:rPr lang="kk-KZ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Қ</a:t>
            </a:r>
            <a:r>
              <a:rPr lang="ru-RU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ШОТ-ФАКТУРАЛАРДЫ ЖАЗЫП БЕРУДІ САЛЫСТЫРМАЛЫ БАҚЫЛАУ</a:t>
            </a:r>
            <a:endParaRPr lang="en-US" sz="14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>
          <a:xfrm>
            <a:off x="9217655" y="6356350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6" name="Прямая соединительная линия 3">
            <a:extLst>
              <a:ext uri="{FF2B5EF4-FFF2-40B4-BE49-F238E27FC236}">
                <a16:creationId xmlns:a16="http://schemas.microsoft.com/office/drawing/2014/main" id="{33EF3CB8-F416-4278-8646-A04DA7365D4D}"/>
              </a:ext>
            </a:extLst>
          </p:cNvPr>
          <p:cNvCxnSpPr>
            <a:cxnSpLocks/>
          </p:cNvCxnSpPr>
          <p:nvPr/>
        </p:nvCxnSpPr>
        <p:spPr>
          <a:xfrm flipV="1">
            <a:off x="5716861" y="990659"/>
            <a:ext cx="35999" cy="5294773"/>
          </a:xfrm>
          <a:prstGeom prst="line">
            <a:avLst/>
          </a:prstGeom>
          <a:ln w="3175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FBFC5FC5-402F-4E30-A38A-D598C7219262}"/>
              </a:ext>
            </a:extLst>
          </p:cNvPr>
          <p:cNvSpPr txBox="1"/>
          <p:nvPr/>
        </p:nvSpPr>
        <p:spPr>
          <a:xfrm>
            <a:off x="506185" y="1678521"/>
            <a:ext cx="10990398" cy="35009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16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ҮМӘНДІ МӘМІЛЕЛЕР АНЫҚТАЛҒАН ЖАҒДАЙДА ТАУАРЛАРДЫ ӨТКІЗУ, ЖҰМЫСТАРДЫ ОРЫНДАУ ЖӘНЕ ҚЫЗМЕТТЕР КӨРСЕТУ БОЙЫНША АЙНАЛЫМНЫҢ НАҚТЫ ЖАСАЛҒАНЫН РАСТАУ ТУРАЛЫ ХАБАРЛАМА ЖІБЕРІЛЕДІ</a:t>
            </a: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16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АБАРЛАМАНЫ ОРЫНДАМАҒАН КЕЗДЕ БҰЗУШЫЛЫҚТАР ЖОЙЫЛҒАНҒА ДЕЙІН ЭШФ </a:t>
            </a:r>
            <a:r>
              <a:rPr lang="ru-RU" sz="1600" b="1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ЗЫП БЕРУ </a:t>
            </a:r>
            <a:r>
              <a:rPr lang="ru-RU" sz="16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ҚТАТЫЛА ТҰРАДЫ</a:t>
            </a: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16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АБАРЛАМАНЫ ОРЫНДАМАҒАН САЛЫҚ ТӨЛЕУШІЛЕРДІҢ ТІЗІМІ УӘКІЛЕТТІ ОРГАННЫҢ ИНТЕРНЕТ-РЕСУРСЫНДА ОРНАЛАСТЫРЫЛАДЫ</a:t>
            </a: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16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ТЫП АЛУШЫЛАРҒА КҮМӘНДІ ӨЗАРА ЕСЕП АЙЫРЫСУЛАР БОЙЫНША ХАБАРЛАМА ЖІБЕРІЛЕДІ</a:t>
            </a: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sz="900" b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sz="1200" b="1" i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sz="1000" b="1" i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 algn="just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sz="1000" b="1" i="1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506185" y="5666269"/>
            <a:ext cx="1105043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4" algn="ctr">
              <a:spcBef>
                <a:spcPts val="9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ұзушылықтар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бептер</a:t>
            </a:r>
            <a:r>
              <a:rPr lang="ru-RU" sz="1400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ru-RU" sz="1400" kern="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йылған</a:t>
            </a:r>
            <a:r>
              <a:rPr lang="ru-RU" sz="1400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зде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ЭШФ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зып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руді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қтата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ұру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 </a:t>
            </a:r>
            <a:r>
              <a:rPr lang="ru-RU" sz="1400" kern="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ұмыс</a:t>
            </a:r>
            <a:r>
              <a:rPr lang="ru-RU" sz="1400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үн</a:t>
            </a:r>
            <a:r>
              <a:rPr lang="ru-RU" sz="1400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шінде</a:t>
            </a:r>
            <a:r>
              <a:rPr lang="ru-RU" sz="1400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ойылады</a:t>
            </a:r>
            <a:endParaRPr lang="ru-RU" sz="14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95755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1"/>
            <a:ext cx="12192000" cy="1331651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60363" lvl="0"/>
            <a:r>
              <a:rPr lang="ru-RU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 КОДЕКСІ ЖОБАСЫНЫҢ ЖАЛПЫ БӨЛІГІНІҢ ҚҰРЫЛЫМЫ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99884" y="1458496"/>
            <a:ext cx="11592232" cy="51090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sz="1600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-БӨЛІМ. </a:t>
            </a:r>
            <a:r>
              <a:rPr lang="ru-RU" sz="1600" b="1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ЛПЫ ЕРЕЖЕЛЕР</a:t>
            </a:r>
          </a:p>
          <a:p>
            <a:pPr marL="360363" lvl="0"/>
            <a:r>
              <a:rPr lang="ru-RU" sz="14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-тарау</a:t>
            </a:r>
            <a:r>
              <a:rPr lang="ru-RU" sz="14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14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гізгі</a:t>
            </a:r>
            <a:r>
              <a:rPr lang="ru-RU" sz="14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режелер</a:t>
            </a:r>
            <a:endParaRPr lang="ru-RU" sz="1400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0363" lvl="0"/>
            <a:r>
              <a:rPr lang="ru-RU" sz="14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-тарау</a:t>
            </a:r>
            <a:r>
              <a:rPr lang="ru-RU" sz="14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14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14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уші</a:t>
            </a:r>
            <a:r>
              <a:rPr lang="ru-RU" sz="14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ен </a:t>
            </a:r>
            <a:r>
              <a:rPr lang="ru-RU" sz="14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14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гентінің</a:t>
            </a:r>
            <a:r>
              <a:rPr lang="ru-RU" sz="14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қықтары</a:t>
            </a:r>
            <a:r>
              <a:rPr lang="ru-RU" sz="14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ен </a:t>
            </a:r>
            <a:r>
              <a:rPr lang="ru-RU" sz="14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індеттері</a:t>
            </a:r>
            <a:r>
              <a:rPr lang="ru-RU" sz="14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1400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тық</a:t>
            </a:r>
            <a:r>
              <a:rPr lang="ru-RU" sz="14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тынастарда</a:t>
            </a:r>
            <a:r>
              <a:rPr lang="ru-RU" sz="14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кілдік</a:t>
            </a:r>
            <a:r>
              <a:rPr lang="ru-RU" sz="14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ту</a:t>
            </a:r>
            <a:r>
              <a:rPr lang="ru-RU" sz="14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sz="1400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0363" lvl="0"/>
            <a:r>
              <a:rPr lang="ru-RU" sz="14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-тарау. </a:t>
            </a:r>
            <a:r>
              <a:rPr lang="ru-RU" sz="14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14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гандары</a:t>
            </a:r>
            <a:r>
              <a:rPr lang="ru-RU" sz="14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1400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тық</a:t>
            </a:r>
            <a:r>
              <a:rPr lang="ru-RU" sz="14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тынастардағы</a:t>
            </a:r>
            <a:r>
              <a:rPr lang="ru-RU" sz="14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зара</a:t>
            </a:r>
            <a:r>
              <a:rPr lang="ru-RU" sz="14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с-қимыл</a:t>
            </a:r>
            <a:endParaRPr lang="ru-RU" sz="1400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0363" lvl="0"/>
            <a:r>
              <a:rPr lang="ru-RU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1600" b="1" dirty="0"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/>
            <a:r>
              <a:rPr lang="ru-RU" sz="1600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-БӨЛІМ. САЛЫҚТЫҚ МІНДЕТТЕМЕ</a:t>
            </a:r>
            <a:endParaRPr lang="ru-RU" sz="1600" b="1" dirty="0">
              <a:solidFill>
                <a:schemeClr val="accent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0363" lvl="0"/>
            <a:r>
              <a:rPr lang="ru-RU" sz="14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4-тарау. </a:t>
            </a:r>
            <a:r>
              <a:rPr lang="ru-RU" sz="1400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тық</a:t>
            </a:r>
            <a:r>
              <a:rPr lang="ru-RU" sz="14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індеттеме</a:t>
            </a:r>
            <a:endParaRPr lang="ru-RU" sz="1400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0363" lvl="0"/>
            <a:r>
              <a:rPr lang="ru-RU" sz="14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5-тарау. </a:t>
            </a:r>
            <a:r>
              <a:rPr lang="ru-RU" sz="1400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тық</a:t>
            </a:r>
            <a:r>
              <a:rPr lang="ru-RU" sz="14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індеттемені</a:t>
            </a:r>
            <a:r>
              <a:rPr lang="ru-RU" sz="14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ындау</a:t>
            </a:r>
            <a:endParaRPr lang="ru-RU" sz="1400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0363" lvl="0"/>
            <a:r>
              <a:rPr lang="ru-RU" sz="14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lvl="0"/>
            <a:r>
              <a:rPr lang="ru-RU" sz="1600" b="1" dirty="0" smtClean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-БӨЛІМ. </a:t>
            </a:r>
            <a:r>
              <a:rPr lang="ru-RU" sz="1600" b="1" dirty="0">
                <a:solidFill>
                  <a:schemeClr val="accent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ТЫҚ ӘКІМШІЛЕНДІРУ</a:t>
            </a:r>
          </a:p>
          <a:p>
            <a:pPr marL="360363" lvl="0"/>
            <a:r>
              <a:rPr lang="ru-RU" sz="14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6-тарау. Салықтық </a:t>
            </a:r>
            <a:r>
              <a:rPr lang="ru-RU" sz="14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кімшілендіру</a:t>
            </a:r>
            <a:endParaRPr lang="ru-RU" sz="1400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0363" lvl="0"/>
            <a:r>
              <a:rPr lang="ru-RU" sz="14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7-тарау. Салықтық </a:t>
            </a:r>
            <a:r>
              <a:rPr lang="ru-RU" sz="14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іркеу</a:t>
            </a:r>
            <a:endParaRPr lang="ru-RU" sz="1400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0363" lvl="0"/>
            <a:r>
              <a:rPr lang="ru-RU" sz="14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8-тарау</a:t>
            </a:r>
            <a:r>
              <a:rPr lang="ru-RU" sz="14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1400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қылау</a:t>
            </a:r>
            <a:r>
              <a:rPr lang="ru-RU" sz="14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-касса </a:t>
            </a:r>
            <a:r>
              <a:rPr lang="ru-RU" sz="1400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шиналарын</a:t>
            </a:r>
            <a:r>
              <a:rPr lang="ru-RU" sz="14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лдану</a:t>
            </a:r>
            <a:endParaRPr lang="ru-RU" sz="1400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0363" lvl="0"/>
            <a:r>
              <a:rPr lang="ru-RU" sz="14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9-тарау</a:t>
            </a:r>
            <a:r>
              <a:rPr lang="ru-RU" sz="14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14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14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ысандары</a:t>
            </a:r>
            <a:endParaRPr lang="ru-RU" sz="1400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0363" lvl="0"/>
            <a:r>
              <a:rPr lang="ru-RU" sz="14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-тарау</a:t>
            </a:r>
            <a:r>
              <a:rPr lang="ru-RU" sz="14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1400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тық</a:t>
            </a:r>
            <a:r>
              <a:rPr lang="ru-RU" sz="14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індеттеменің</a:t>
            </a:r>
            <a:r>
              <a:rPr lang="ru-RU" sz="14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4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sz="14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індеттеменің</a:t>
            </a:r>
            <a:r>
              <a:rPr lang="ru-RU" sz="14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ындалуын</a:t>
            </a:r>
            <a:r>
              <a:rPr lang="ru-RU" sz="14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епке</a:t>
            </a:r>
            <a:r>
              <a:rPr lang="ru-RU" sz="14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у</a:t>
            </a:r>
            <a:endParaRPr lang="ru-RU" sz="1400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0363" lvl="0"/>
            <a:r>
              <a:rPr lang="ru-RU" sz="14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-тарау</a:t>
            </a:r>
            <a:r>
              <a:rPr lang="ru-RU" sz="14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14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мералдық</a:t>
            </a:r>
            <a:r>
              <a:rPr lang="ru-RU" sz="14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қылау</a:t>
            </a:r>
            <a:endParaRPr lang="ru-RU" sz="1400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0363" lvl="0"/>
            <a:r>
              <a:rPr lang="ru-RU" sz="14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-тарау</a:t>
            </a:r>
            <a:r>
              <a:rPr lang="ru-RU" sz="14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14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лектрондық</a:t>
            </a:r>
            <a:r>
              <a:rPr lang="ru-RU" sz="14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от-фактуралардың</a:t>
            </a:r>
            <a:r>
              <a:rPr lang="ru-RU" sz="14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зып</a:t>
            </a:r>
            <a:r>
              <a:rPr lang="ru-RU" sz="14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рілуін</a:t>
            </a:r>
            <a:r>
              <a:rPr lang="ru-RU" sz="14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қылау</a:t>
            </a:r>
            <a:endParaRPr lang="ru-RU" sz="1400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0363" lvl="0"/>
            <a:r>
              <a:rPr lang="ru-RU" sz="14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4-тарау. </a:t>
            </a:r>
            <a:r>
              <a:rPr lang="ru-RU" sz="1400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тық</a:t>
            </a:r>
            <a:r>
              <a:rPr lang="ru-RU" sz="14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ониторинг</a:t>
            </a:r>
            <a:endParaRPr lang="ru-RU" sz="1400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0363" lvl="0"/>
            <a:r>
              <a:rPr lang="ru-RU" sz="14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-тарау. Салықтық </a:t>
            </a:r>
            <a:r>
              <a:rPr lang="ru-RU" sz="14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қылау</a:t>
            </a:r>
            <a:endParaRPr lang="ru-RU" sz="1400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0363" lvl="0"/>
            <a:r>
              <a:rPr lang="ru-RU" sz="14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-тарау</a:t>
            </a:r>
            <a:r>
              <a:rPr lang="ru-RU" sz="14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14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қылаудың</a:t>
            </a:r>
            <a:r>
              <a:rPr lang="ru-RU" sz="14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зге</a:t>
            </a:r>
            <a:r>
              <a:rPr lang="ru-RU" sz="14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де </a:t>
            </a:r>
            <a:r>
              <a:rPr lang="ru-RU" sz="14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ысандары</a:t>
            </a:r>
            <a:endParaRPr lang="ru-RU" sz="1400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0363" lvl="0"/>
            <a:r>
              <a:rPr lang="ru-RU" sz="14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7-тарау</a:t>
            </a:r>
            <a:r>
              <a:rPr lang="ru-RU" sz="14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ru-RU" sz="14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тар</a:t>
            </a:r>
            <a:r>
              <a:rPr lang="ru-RU" sz="14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ен </a:t>
            </a:r>
            <a:r>
              <a:rPr lang="ru-RU" sz="14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юджетке</a:t>
            </a:r>
            <a:r>
              <a:rPr lang="ru-RU" sz="14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нетін</a:t>
            </a:r>
            <a:r>
              <a:rPr lang="ru-RU" sz="14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мдерді</a:t>
            </a:r>
            <a:r>
              <a:rPr lang="ru-RU" sz="14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у</a:t>
            </a:r>
            <a:r>
              <a:rPr lang="ru-RU" sz="14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14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тық</a:t>
            </a:r>
            <a:r>
              <a:rPr lang="ru-RU" sz="14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індеттемені</a:t>
            </a:r>
            <a:r>
              <a:rPr lang="ru-RU" sz="14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әжбүрлеп</a:t>
            </a:r>
            <a:r>
              <a:rPr lang="ru-RU" sz="14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ындау</a:t>
            </a:r>
            <a:endParaRPr lang="ru-RU" sz="1400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0363" lvl="0"/>
            <a:r>
              <a:rPr lang="ru-RU" sz="1400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8-тарау</a:t>
            </a:r>
            <a:r>
              <a:rPr lang="ru-RU" sz="14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Салықтық </a:t>
            </a:r>
            <a:r>
              <a:rPr lang="ru-RU" sz="14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ксеру</a:t>
            </a:r>
            <a:r>
              <a:rPr lang="ru-RU" sz="14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әтижелері</a:t>
            </a:r>
            <a:r>
              <a:rPr lang="ru-RU" sz="14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уралы</a:t>
            </a:r>
            <a:r>
              <a:rPr lang="ru-RU" sz="14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абарламаға</a:t>
            </a:r>
            <a:r>
              <a:rPr lang="ru-RU" sz="14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14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14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гандары</a:t>
            </a:r>
            <a:r>
              <a:rPr lang="ru-RU" sz="14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ауазымды</a:t>
            </a:r>
            <a:r>
              <a:rPr lang="ru-RU" sz="14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дамдарының</a:t>
            </a:r>
            <a:r>
              <a:rPr lang="ru-RU" sz="14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рекеттеріне</a:t>
            </a:r>
            <a:r>
              <a:rPr lang="ru-RU" sz="14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sz="14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рекетсіздігіне</a:t>
            </a:r>
            <a:r>
              <a:rPr lang="ru-RU" sz="14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ru-RU" sz="14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ғым</a:t>
            </a:r>
            <a:r>
              <a:rPr lang="ru-RU" sz="14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сау</a:t>
            </a:r>
            <a:r>
              <a:rPr lang="ru-RU" sz="1400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әртібі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110977702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algn="ctr"/>
            <a:r>
              <a:rPr lang="ru-RU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САЛЫҚТЫҚ МОНИТОРИНГ</a:t>
            </a:r>
            <a:endParaRPr 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607721" y="1028038"/>
            <a:ext cx="10893669" cy="47089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2000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тық</a:t>
            </a:r>
            <a:r>
              <a:rPr lang="ru-RU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ониторинг – </a:t>
            </a:r>
            <a:r>
              <a:rPr lang="ru-RU" sz="2000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ңнамасының</a:t>
            </a:r>
            <a:r>
              <a:rPr lang="ru-RU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қталуын</a:t>
            </a:r>
            <a:r>
              <a:rPr lang="ru-RU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қылау</a:t>
            </a:r>
            <a:r>
              <a:rPr lang="ru-RU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қсатында</a:t>
            </a:r>
            <a:r>
              <a:rPr lang="ru-RU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ушілердің</a:t>
            </a:r>
            <a:r>
              <a:rPr lang="ru-RU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келеген</a:t>
            </a:r>
            <a:r>
              <a:rPr lang="ru-RU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наттарының</a:t>
            </a:r>
            <a:r>
              <a:rPr lang="ru-RU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і</a:t>
            </a:r>
            <a:r>
              <a:rPr lang="ru-RU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уралы</a:t>
            </a:r>
            <a:r>
              <a:rPr lang="ru-RU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қпаратты</a:t>
            </a:r>
            <a:r>
              <a:rPr lang="ru-RU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инау</a:t>
            </a:r>
            <a:r>
              <a:rPr lang="ru-RU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лдау</a:t>
            </a:r>
            <a:r>
              <a:rPr lang="ru-RU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sz="20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endParaRPr lang="ru-RU" sz="20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ru-RU" sz="2000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тық</a:t>
            </a:r>
            <a:r>
              <a:rPr lang="ru-RU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ониторинг </a:t>
            </a:r>
            <a:r>
              <a:rPr lang="ru-RU" sz="2000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үрлері</a:t>
            </a:r>
            <a:r>
              <a:rPr lang="ru-RU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endParaRPr lang="ru-RU" sz="20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) 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</a:t>
            </a:r>
            <a:r>
              <a:rPr lang="ru-RU" sz="2000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і</a:t>
            </a:r>
            <a:r>
              <a:rPr lang="ru-RU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ушілер</a:t>
            </a:r>
            <a:r>
              <a:rPr lang="ru-RU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ниторингі</a:t>
            </a:r>
            <a:r>
              <a:rPr lang="ru-RU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  <a:endParaRPr lang="ru-RU" sz="20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) </a:t>
            </a:r>
            <a:r>
              <a:rPr lang="ru-RU" sz="2000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ңгейлес</a:t>
            </a:r>
            <a:r>
              <a:rPr lang="ru-RU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ниторинг.</a:t>
            </a:r>
          </a:p>
          <a:p>
            <a:pPr algn="just"/>
            <a:endParaRPr lang="ru-RU" sz="20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ru-RU" sz="2000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ізбеге</a:t>
            </a:r>
            <a:r>
              <a:rPr lang="ru-RU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іретіндері</a:t>
            </a:r>
            <a:r>
              <a:rPr lang="ru-RU" sz="20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endParaRPr lang="ru-RU" sz="20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endParaRPr lang="ru-RU" sz="20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just">
              <a:buFontTx/>
              <a:buChar char="-"/>
            </a:pP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ғашқы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300 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уші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ТА 325 000 АЕК 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там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250 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дамнан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кем 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мес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342900" indent="-342900" algn="just">
              <a:buFontTx/>
              <a:buChar char="-"/>
            </a:pP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БК 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еретор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р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йнауын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йдаланушы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342900" indent="-342900" algn="just">
              <a:buFontTx/>
              <a:buChar char="-"/>
            </a:pP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мінде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 000 000 АЕКП (7,3 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рд.теңге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гендер</a:t>
            </a:r>
            <a:endParaRPr lang="ru-RU" sz="20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algn="just">
              <a:buFontTx/>
              <a:buChar char="-"/>
            </a:pP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р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йнауын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йдаланушы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КТПҚ 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спағанда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342900" indent="-342900" algn="just">
              <a:buFontTx/>
              <a:buChar char="-"/>
            </a:pP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р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йнауын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йдаланушы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ла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ұраушы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әсіпорын</a:t>
            </a:r>
            <a:endParaRPr lang="en-US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292686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A4398A-5718-5E49-CD73-9B9B60FDE4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FEDD44C3-0560-60CD-8ED4-01085B8C7AC7}"/>
              </a:ext>
            </a:extLst>
          </p:cNvPr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algn="ctr"/>
            <a:r>
              <a:rPr lang="ru-RU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САЛЫҚТЫҚ БАҚЫЛАУ</a:t>
            </a:r>
            <a:endParaRPr lang="ru-RU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D4AB323-5BA9-0790-3484-9A1B579DC645}"/>
              </a:ext>
            </a:extLst>
          </p:cNvPr>
          <p:cNvSpPr txBox="1"/>
          <p:nvPr/>
        </p:nvSpPr>
        <p:spPr>
          <a:xfrm>
            <a:off x="274882" y="1112401"/>
            <a:ext cx="11737731" cy="10397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54013" lvl="4" algn="just" fontAlgn="base">
              <a:lnSpc>
                <a:spcPct val="114000"/>
              </a:lnSpc>
              <a:spcBef>
                <a:spcPts val="6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алықтық </a:t>
            </a:r>
            <a:r>
              <a:rPr lang="ru-RU" b="1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ақылау</a:t>
            </a:r>
            <a:r>
              <a:rPr lang="ru-RU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–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азақстан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еспубликасының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алық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заңнамасы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рындалуын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ақылау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алық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ргандарына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үктелген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азақстан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еспубликасының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өзге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де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заңнамасы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ормаларының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рындалуына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алық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ргандары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үзеге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сыратын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мемлекеттік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ақылау</a:t>
            </a:r>
            <a:endParaRPr lang="ru-RU" kern="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0EE623F9-3E13-652D-D37C-8B121858EE2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32B3DF5D-5900-2F6D-4B1B-92CB9A793205}"/>
              </a:ext>
            </a:extLst>
          </p:cNvPr>
          <p:cNvSpPr/>
          <p:nvPr/>
        </p:nvSpPr>
        <p:spPr>
          <a:xfrm>
            <a:off x="719328" y="2674328"/>
            <a:ext cx="11472672" cy="607267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lvl="4" algn="just">
              <a:lnSpc>
                <a:spcPct val="114000"/>
              </a:lnSpc>
              <a:spcBef>
                <a:spcPts val="6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24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алықтық </a:t>
            </a:r>
            <a:r>
              <a:rPr lang="ru-RU" sz="2400" b="1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ексерудің</a:t>
            </a:r>
            <a:r>
              <a:rPr lang="ru-RU" sz="24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2400" b="1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егіздері</a:t>
            </a:r>
            <a:endParaRPr lang="ru-RU" sz="2400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889C615-CBFA-0122-1206-AEB33008B8FD}"/>
              </a:ext>
            </a:extLst>
          </p:cNvPr>
          <p:cNvSpPr txBox="1"/>
          <p:nvPr/>
        </p:nvSpPr>
        <p:spPr>
          <a:xfrm>
            <a:off x="719328" y="3494028"/>
            <a:ext cx="11139706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buAutoNum type="arabicParenR"/>
            </a:pPr>
            <a:r>
              <a:rPr lang="ru-RU" kern="1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астамашылық</a:t>
            </a:r>
            <a:r>
              <a:rPr lang="ru-RU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өтініштер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алық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өлеушінің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алабы</a:t>
            </a:r>
            <a:endParaRPr lang="ru-RU" kern="100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342900" indent="-342900" algn="just">
              <a:buAutoNum type="arabicParenR"/>
            </a:pPr>
            <a:endParaRPr lang="ru-RU" kern="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algn="just"/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2)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ұқық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орғау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ргандарының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шешімі</a:t>
            </a:r>
            <a:endParaRPr lang="ru-RU" kern="100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algn="just"/>
            <a:endParaRPr lang="ru-RU" kern="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algn="just"/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3)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алық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рганының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алықтық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ексеру</a:t>
            </a:r>
            <a:r>
              <a:rPr lang="ru-RU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үргізу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уралы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шешімі</a:t>
            </a:r>
            <a:r>
              <a:rPr lang="ru-RU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(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алықтық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ексеру</a:t>
            </a:r>
            <a:r>
              <a:rPr lang="ru-RU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үргізу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әртібі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мен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егіздерін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уәкілетті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орган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йқындайды</a:t>
            </a:r>
            <a:r>
              <a:rPr lang="ru-RU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)</a:t>
            </a:r>
          </a:p>
          <a:p>
            <a:pPr algn="just"/>
            <a:endParaRPr lang="ru-RU" kern="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algn="just"/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4)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ер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ойнауын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айдаланудың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лицензиялық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ежиміне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ер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ойнауын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айдалану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ұқығын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айта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есімдеу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ағдайларын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оспағанда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ер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ойнауын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айдалануға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рналған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келісімшарттың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олданылу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мерзімінің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өтуі</a:t>
            </a:r>
            <a:endParaRPr lang="ru-RU" kern="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828876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661247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algn="ctr"/>
            <a:r>
              <a:rPr lang="ru-RU" sz="2800" b="1" smtClean="0">
                <a:latin typeface="Arial" panose="020B0604020202020204" pitchFamily="34" charset="0"/>
                <a:cs typeface="Arial" panose="020B0604020202020204" pitchFamily="34" charset="0"/>
              </a:rPr>
              <a:t>БАҚЫЛАУДЫҢ ӨЗГЕ ДЕ НЫСАНДАРЫ</a:t>
            </a:r>
            <a:endParaRPr 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288980" y="877823"/>
            <a:ext cx="11676184" cy="472893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354013" lvl="0" indent="365125" algn="just">
              <a:spcAft>
                <a:spcPts val="300"/>
              </a:spcAft>
              <a:defRPr/>
            </a:pPr>
            <a:endParaRPr lang="ru-RU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4013" indent="365125" algn="just">
              <a:lnSpc>
                <a:spcPct val="150000"/>
              </a:lnSpc>
              <a:spcAft>
                <a:spcPts val="300"/>
              </a:spcAft>
              <a:defRPr/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тық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кімшілендіру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ңберіндегі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қылаудың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зге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де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ысандарына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ыналар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атады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354013" lvl="0" indent="365125" algn="just">
              <a:lnSpc>
                <a:spcPct val="150000"/>
              </a:lnSpc>
              <a:spcAft>
                <a:spcPts val="300"/>
              </a:spcAft>
              <a:defRPr/>
            </a:pPr>
            <a:r>
              <a:rPr lang="ru-RU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зақста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спубликасында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ндірілге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мес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зақста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спубликасына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мпортталға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цизделеті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уарлард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қылау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354013" lvl="0" indent="365125" algn="just">
              <a:lnSpc>
                <a:spcPct val="150000"/>
              </a:lnSpc>
              <a:spcAft>
                <a:spcPts val="300"/>
              </a:spcAf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)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ансферттік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ға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лгілеу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зіндегі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қылау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354013" lvl="0" indent="365125" algn="just">
              <a:lnSpc>
                <a:spcPct val="150000"/>
              </a:lnSpc>
              <a:spcAft>
                <a:spcPts val="300"/>
              </a:spcAf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)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млекет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ншігін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йналдырылға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үске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үлікті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епк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у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қтау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ғалау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да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рі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йдалану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ткізу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әртібінің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қталуы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қылау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354013" lvl="0" indent="365125" algn="just">
              <a:lnSpc>
                <a:spcPct val="150000"/>
              </a:lnSpc>
              <a:spcAft>
                <a:spcPts val="300"/>
              </a:spcAf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)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әкілетті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млекеттік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гандардың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ергілікті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тқаруш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гандардың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млекеттік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рпорацияның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ызметі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қылау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;</a:t>
            </a:r>
          </a:p>
          <a:p>
            <a:pPr marL="354013" lvl="0" indent="365125" algn="just">
              <a:lnSpc>
                <a:spcPct val="150000"/>
              </a:lnSpc>
              <a:spcAft>
                <a:spcPts val="300"/>
              </a:spcAf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)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уарларға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ілеспе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үкқұжаттард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сімдеу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әртібінің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қталуы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қылау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354013" lvl="0" indent="365125" algn="just">
              <a:lnSpc>
                <a:spcPct val="150000"/>
              </a:lnSpc>
              <a:spcAft>
                <a:spcPts val="300"/>
              </a:spcAf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) ЕАЭО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едендік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умағына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келінген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ауарлар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йналымының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адағалануы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354013" lvl="0" indent="365125" algn="just">
              <a:lnSpc>
                <a:spcPct val="150000"/>
              </a:lnSpc>
              <a:spcAft>
                <a:spcPts val="300"/>
              </a:spcAft>
              <a:defRPr/>
            </a:pP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)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тық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ерттеп-қарау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447675" lvl="4" indent="265113" algn="just">
              <a:spcAft>
                <a:spcPts val="300"/>
              </a:spcAft>
              <a:buClr>
                <a:srgbClr val="000000"/>
              </a:buClr>
              <a:tabLst>
                <a:tab pos="10281920" algn="l"/>
              </a:tabLst>
              <a:defRPr/>
            </a:pPr>
            <a:endParaRPr lang="ru-RU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752668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1"/>
            <a:ext cx="12192000" cy="1194817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1200"/>
              </a:spcAft>
              <a:defRPr/>
            </a:pPr>
            <a:r>
              <a:rPr lang="kk-KZ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Салықтық </a:t>
            </a:r>
            <a:r>
              <a:rPr lang="ru-RU" sz="28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берешегі</a:t>
            </a:r>
            <a:r>
              <a:rPr lang="ru-RU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болған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жағдайда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мәжбүрлеп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өндіріп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8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алу</a:t>
            </a:r>
            <a:endParaRPr lang="ru-RU" sz="2800" b="1" dirty="0">
              <a:solidFill>
                <a:srgbClr val="002060"/>
              </a:solidFill>
              <a:latin typeface="Arial" panose="020B0604020202020204" pitchFamily="34" charset="0"/>
              <a:ea typeface="Roboto Condensed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4368FA4E-05C2-43DB-90E1-81B4250BB861}"/>
              </a:ext>
            </a:extLst>
          </p:cNvPr>
          <p:cNvSpPr/>
          <p:nvPr/>
        </p:nvSpPr>
        <p:spPr>
          <a:xfrm>
            <a:off x="383458" y="1574543"/>
            <a:ext cx="9408612" cy="41549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kk-KZ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 АЕК-ге дейінгі берешек кезінде </a:t>
            </a:r>
            <a:r>
              <a:rPr lang="kk-KZ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салық берешегінің қалыптасқаны туралы хабарламаны жолдау, басқа шаралар </a:t>
            </a:r>
            <a:r>
              <a:rPr lang="kk-KZ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лданылмайды</a:t>
            </a:r>
          </a:p>
          <a:p>
            <a:pPr marL="285750" indent="-285750" algn="just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kk-KZ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-дан 45 АЕК-ге дейінгі берешек кезінде – </a:t>
            </a:r>
            <a:r>
              <a:rPr lang="kk-KZ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 берешегін өтеу туралы хабарлама жолдау, банк шоттары мен касса бойынша шығыс операцияларын тоқтата тұру, инкассалық өкім </a:t>
            </a:r>
            <a:r>
              <a:rPr lang="kk-KZ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ю</a:t>
            </a:r>
          </a:p>
          <a:p>
            <a:pPr marL="285750" indent="-285750" algn="just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kk-KZ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5 АЕК-ден жоғары берешек кезінде – </a:t>
            </a:r>
            <a:r>
              <a:rPr lang="kk-KZ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үліктің тізімдемесі мен өткізілуін, дебиторлар есебінен өндіріп алуды, шетелге шығуды шектеуді (сот санкциясы негізінде 3 ай ішінде өтелмеген жағдайда), банкроттықты қоса алғанда, барлық </a:t>
            </a:r>
            <a:r>
              <a:rPr lang="kk-KZ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ралар</a:t>
            </a:r>
          </a:p>
          <a:p>
            <a:pPr marL="285750" indent="-285750" algn="just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өлемдер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решекті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әжбүрлеп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өндіріп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у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әсілдері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ен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араларын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қолданбау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йынша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кті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әнді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6 АЕК-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е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йін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ұлғайту</a:t>
            </a:r>
            <a:r>
              <a:rPr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ru-RU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декстің</a:t>
            </a:r>
            <a:r>
              <a:rPr lang="ru-RU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56-бабы </a:t>
            </a:r>
            <a:r>
              <a:rPr lang="ru-RU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әне</a:t>
            </a:r>
            <a:r>
              <a:rPr lang="ru-RU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«</a:t>
            </a:r>
            <a:r>
              <a:rPr lang="ru-RU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індетті</a:t>
            </a:r>
            <a:r>
              <a:rPr lang="ru-RU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әлеуметтік</a:t>
            </a:r>
            <a:r>
              <a:rPr lang="ru-RU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дициналық</a:t>
            </a:r>
            <a:r>
              <a:rPr lang="ru-RU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қтандыру</a:t>
            </a:r>
            <a:r>
              <a:rPr lang="ru-RU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i="1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уралы</a:t>
            </a:r>
            <a:r>
              <a:rPr lang="ru-RU" i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ҚРЗ 31-бабы)</a:t>
            </a:r>
            <a:endParaRPr lang="ru-RU" i="1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59787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1"/>
            <a:ext cx="12192000" cy="731521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1200"/>
              </a:spcAft>
              <a:defRPr/>
            </a:pPr>
            <a:r>
              <a:rPr lang="ru-RU" sz="2800" b="1" dirty="0">
                <a:latin typeface="Arial Black" panose="020B0A04020102020204" pitchFamily="34" charset="0"/>
              </a:rPr>
              <a:t>1-БӨЛІМ </a:t>
            </a:r>
            <a:r>
              <a:rPr lang="ru-RU" sz="2800" b="1" dirty="0" smtClean="0">
                <a:latin typeface="Arial Black" panose="020B0A04020102020204" pitchFamily="34" charset="0"/>
              </a:rPr>
              <a:t>«ЖАЛПЫ ЕРЕЖЕЛЕР»</a:t>
            </a:r>
            <a:endParaRPr lang="ru-RU" sz="2800" b="1" dirty="0"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501446" y="917912"/>
            <a:ext cx="11179278" cy="55348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  <a:spcAft>
                <a:spcPts val="800"/>
              </a:spcAft>
            </a:pP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алық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алудың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құқықтық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негіздері</a:t>
            </a:r>
            <a:endParaRPr lang="ru-RU" b="1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50000"/>
              </a:lnSpc>
              <a:spcAft>
                <a:spcPts val="800"/>
              </a:spcAft>
            </a:pP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алық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салу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ринциптері</a:t>
            </a:r>
            <a:endParaRPr lang="ru-RU" b="1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50000"/>
              </a:lnSpc>
              <a:spcAft>
                <a:spcPts val="800"/>
              </a:spcAft>
            </a:pP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алық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заңнамасының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мақсаты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мен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міндеті</a:t>
            </a:r>
            <a:endParaRPr lang="ru-RU" b="1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50000"/>
              </a:lnSpc>
              <a:spcAft>
                <a:spcPts val="800"/>
              </a:spcAft>
            </a:pP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алық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аясаты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алықтық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жеңілдіктер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әдістемелік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еңес</a:t>
            </a:r>
            <a:endParaRPr lang="ru-RU" b="1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50000"/>
              </a:lnSpc>
              <a:spcAft>
                <a:spcPts val="800"/>
              </a:spcAft>
            </a:pP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алық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одексіне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өзгерістер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мен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толықтырулар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енгізу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тәртібі</a:t>
            </a:r>
            <a:endParaRPr lang="ru-RU" b="1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50000"/>
              </a:lnSpc>
              <a:spcAft>
                <a:spcPts val="800"/>
              </a:spcAft>
            </a:pP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алық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төлеушінің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құқықтары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мен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міндеттері</a:t>
            </a:r>
            <a:endParaRPr lang="ru-RU" b="1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50000"/>
              </a:lnSpc>
              <a:spcAft>
                <a:spcPts val="800"/>
              </a:spcAft>
            </a:pP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алық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ргандарының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жүйесі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лардың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міндеттері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құқықтары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мен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міндеттері</a:t>
            </a:r>
            <a:endParaRPr lang="ru-RU" b="1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50000"/>
              </a:lnSpc>
              <a:spcAft>
                <a:spcPts val="800"/>
              </a:spcAft>
            </a:pPr>
            <a:r>
              <a:rPr lang="ru-RU" b="1" dirty="0" err="1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алықтық</a:t>
            </a:r>
            <a:r>
              <a:rPr lang="ru-RU" b="1" dirty="0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b="1" dirty="0" err="1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құпия</a:t>
            </a:r>
            <a:endParaRPr lang="ru-RU" b="1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50000"/>
              </a:lnSpc>
              <a:spcAft>
                <a:spcPts val="800"/>
              </a:spcAft>
            </a:pP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алық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рганының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алық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төлеушімен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(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алық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агентімен</a:t>
            </a:r>
            <a:r>
              <a:rPr lang="ru-RU" b="1" dirty="0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) </a:t>
            </a:r>
            <a:r>
              <a:rPr lang="ru-RU" b="1" dirty="0" err="1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өзара</a:t>
            </a:r>
            <a:r>
              <a:rPr lang="ru-RU" b="1" dirty="0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іс-қимылы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  <a:p>
            <a:pPr algn="just">
              <a:lnSpc>
                <a:spcPct val="150000"/>
              </a:lnSpc>
              <a:spcAft>
                <a:spcPts val="800"/>
              </a:spcAft>
            </a:pP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Уәкілетті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мемлекеттік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ргандармен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жергілікті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атқарушы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ргандармен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және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өзге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де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тұлғалармен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өзара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b="1" dirty="0" err="1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іс-қимыл</a:t>
            </a:r>
            <a:endParaRPr lang="ru-RU" b="1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5738423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0"/>
            <a:ext cx="12192000" cy="1331651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1200"/>
              </a:spcAft>
              <a:defRPr/>
            </a:pPr>
            <a:r>
              <a:rPr lang="ru-RU" sz="2800" dirty="0" smtClean="0">
                <a:latin typeface="Arial Black" panose="020B0A04020102020204" pitchFamily="34" charset="0"/>
              </a:rPr>
              <a:t>2-БӨЛІМ «САЛЫҚТЫҚ МІНДЕТТЕМЕ</a:t>
            </a:r>
            <a:endParaRPr lang="ru-RU" sz="2800" dirty="0"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266091" y="2551837"/>
            <a:ext cx="1035733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268224" y="1581843"/>
            <a:ext cx="9001189" cy="47602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54013" algn="just">
              <a:spcAft>
                <a:spcPts val="800"/>
              </a:spcAft>
            </a:pPr>
            <a:r>
              <a:rPr lang="ru-RU" dirty="0"/>
              <a:t/>
            </a:r>
            <a:br>
              <a:rPr lang="ru-RU" dirty="0"/>
            </a:b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алық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салу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бъектісі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ru-RU" b="1" dirty="0" err="1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алықтық</a:t>
            </a:r>
            <a:r>
              <a:rPr lang="ru-RU" b="1" dirty="0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база, </a:t>
            </a:r>
            <a:r>
              <a:rPr lang="ru-RU" b="1" dirty="0" err="1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алықтық</a:t>
            </a:r>
            <a:r>
              <a:rPr lang="ru-RU" b="1" dirty="0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b="1" dirty="0" err="1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мөлшерлеме</a:t>
            </a:r>
            <a:r>
              <a:rPr lang="ru-RU" b="1" dirty="0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ru-RU" b="1" dirty="0" err="1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алықтық</a:t>
            </a:r>
            <a:r>
              <a:rPr lang="ru-RU" b="1" dirty="0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b="1" dirty="0" err="1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езең</a:t>
            </a:r>
            <a:endParaRPr lang="ru-RU" b="1" dirty="0" smtClean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54013" algn="just">
              <a:spcAft>
                <a:spcPts val="800"/>
              </a:spcAft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/>
            </a:r>
            <a:b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ru-RU" b="1" dirty="0" err="1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алықтық</a:t>
            </a:r>
            <a:r>
              <a:rPr lang="ru-RU" b="1" dirty="0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b="1" dirty="0" err="1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міндеттемені</a:t>
            </a:r>
            <a:r>
              <a:rPr lang="ru-RU" b="1" dirty="0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рындау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тәртібі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және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оны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рындау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b="1" dirty="0" err="1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мерзімдері</a:t>
            </a:r>
            <a:endParaRPr lang="ru-RU" b="1" dirty="0" smtClean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54013" algn="just">
              <a:spcAft>
                <a:spcPts val="800"/>
              </a:spcAft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/>
            </a:r>
            <a:b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алықтық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міндеттеме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мен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талап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бойынша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талап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қоюдың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ескіру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мерзімдері</a:t>
            </a:r>
            <a:endParaRPr lang="ru-RU" b="1" dirty="0" smtClean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54013" algn="just">
              <a:spcAft>
                <a:spcPts val="800"/>
              </a:spcAft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/>
            </a:r>
            <a:b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Қызметті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тарату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қайта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ұйымдастыру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және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тоқтату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езінде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жекелеген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b="1" dirty="0" err="1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алықтық</a:t>
            </a:r>
            <a:r>
              <a:rPr lang="ru-RU" b="1" dirty="0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b="1" dirty="0" err="1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міндеттемелерді</a:t>
            </a:r>
            <a:r>
              <a:rPr lang="ru-RU" b="1" dirty="0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b="1" dirty="0" err="1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рындау</a:t>
            </a:r>
            <a:endParaRPr lang="ru-RU" b="1" dirty="0" smtClean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54013" algn="just">
              <a:spcAft>
                <a:spcPts val="800"/>
              </a:spcAft>
            </a:pPr>
            <a:r>
              <a:rPr lang="ru-RU" b="1" dirty="0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/>
            </a:r>
            <a:b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ru-RU" b="1" dirty="0" err="1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алықтық</a:t>
            </a:r>
            <a:r>
              <a:rPr lang="ru-RU" b="1" dirty="0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b="1" dirty="0" err="1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міндеттеменің</a:t>
            </a:r>
            <a:r>
              <a:rPr lang="ru-RU" b="1" dirty="0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рындалуын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қамтамасыз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ету</a:t>
            </a:r>
            <a:endParaRPr lang="ru-RU" b="1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4188852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0"/>
            <a:ext cx="12192000" cy="1028344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1200"/>
              </a:spcAft>
              <a:defRPr/>
            </a:pPr>
            <a:endParaRPr lang="ru-RU" sz="2800" dirty="0" smtClean="0"/>
          </a:p>
          <a:p>
            <a:pPr algn="ctr">
              <a:spcAft>
                <a:spcPts val="1200"/>
              </a:spcAft>
              <a:defRPr/>
            </a:pPr>
            <a:r>
              <a:rPr lang="ru-RU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САЛЫҚТЫҚ МІНДЕТТЕМЕНІҢ ОРЫНДАЛУЫН ҚАМТАМАСЫЗ ЕТУ ТӘСІЛДЕРІН</a:t>
            </a:r>
            <a:r>
              <a:rPr lang="ru-RU" sz="2800" dirty="0">
                <a:latin typeface="Arial Black" panose="020B0A04020102020204" pitchFamily="34" charset="0"/>
              </a:rPr>
              <a:t/>
            </a:r>
            <a:br>
              <a:rPr lang="ru-RU" sz="2800" dirty="0">
                <a:latin typeface="Arial Black" panose="020B0A04020102020204" pitchFamily="34" charset="0"/>
              </a:rPr>
            </a:br>
            <a:endParaRPr lang="ru-RU" sz="2800" dirty="0"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266091" y="2551837"/>
            <a:ext cx="1035733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348760" y="1259175"/>
            <a:ext cx="9392648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54013">
              <a:defRPr/>
            </a:pPr>
            <a:r>
              <a:rPr lang="ru-RU" b="1" dirty="0" smtClean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ӨСІМПҰЛ ЕСЕПТЕУ</a:t>
            </a:r>
          </a:p>
          <a:p>
            <a:pPr marL="354013">
              <a:defRPr/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/>
            </a:r>
            <a:b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</a:b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ШЫҒЫС ОПЕРАЦИЯЛАРЫН ТОҚТАТА </a:t>
            </a:r>
            <a:r>
              <a:rPr lang="ru-RU" b="1" dirty="0" smtClean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ҰРУ</a:t>
            </a:r>
          </a:p>
          <a:p>
            <a:pPr marL="354013">
              <a:defRPr/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/>
            </a:r>
            <a:b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</a:b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ҮЛІККЕ БИЛІК ЕТУДІ </a:t>
            </a:r>
            <a:r>
              <a:rPr lang="ru-RU" b="1" dirty="0" smtClean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ШЕКТЕУ</a:t>
            </a:r>
          </a:p>
          <a:p>
            <a:pPr marL="354013">
              <a:defRPr/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/>
            </a:r>
            <a:b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</a:b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ЭЛЕКТРОНДЫҚ ШОТ-ФАКТУРАЛАРДЫ ЖАЗЫП БЕРУДІ ТОҚТАТА </a:t>
            </a:r>
            <a:r>
              <a:rPr lang="ru-RU" b="1" dirty="0" smtClean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ҰРУ</a:t>
            </a:r>
          </a:p>
          <a:p>
            <a:pPr marL="354013">
              <a:defRPr/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/>
            </a:r>
            <a:b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</a:b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АЗАҚСТАН РЕСПУБЛИКАСЫНЫҢ АУМАҒЫНДА ИНТЕРНЕТ-АЛАҢ АРҚЫЛЫ ҚЫЗМЕТІН ЖҮЗЕГЕ АСЫРАТЫН ШЕТЕЛДІК КОМПАНИЯНЫҢ ИНТЕРНЕТ-РЕСУРСТАРЫНА ҚОЛЖЕТІМДІЛІКТІ ШЕКТЕУ</a:t>
            </a:r>
          </a:p>
        </p:txBody>
      </p:sp>
    </p:spTree>
    <p:extLst>
      <p:ext uri="{BB962C8B-B14F-4D97-AF65-F5344CB8AC3E}">
        <p14:creationId xmlns:p14="http://schemas.microsoft.com/office/powerpoint/2010/main" val="396888913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A4398A-5718-5E49-CD73-9B9B60FDE4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FEDD44C3-0560-60CD-8ED4-01085B8C7AC7}"/>
              </a:ext>
            </a:extLst>
          </p:cNvPr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algn="ctr"/>
            <a:r>
              <a:rPr lang="ru-RU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3-БӨЛІМ. САЛЫ</a:t>
            </a:r>
            <a:r>
              <a:rPr lang="kk-KZ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ҚТЫҚ ӘКІМШІЛЕНДІРУ</a:t>
            </a:r>
            <a:endParaRPr lang="ru-RU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D4AB323-5BA9-0790-3484-9A1B579DC645}"/>
              </a:ext>
            </a:extLst>
          </p:cNvPr>
          <p:cNvSpPr txBox="1"/>
          <p:nvPr/>
        </p:nvSpPr>
        <p:spPr>
          <a:xfrm>
            <a:off x="227134" y="1177361"/>
            <a:ext cx="1173773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54013" algn="just"/>
            <a:r>
              <a:rPr lang="kk-KZ" b="1" dirty="0">
                <a:solidFill>
                  <a:schemeClr val="accent2">
                    <a:lumMod val="75000"/>
                  </a:schemeClr>
                </a:solidFill>
              </a:rPr>
              <a:t>Салықтық әкімшілендіру - салық органының және өзгеде уәкілетті мемлекеттік органдардың </a:t>
            </a:r>
            <a:r>
              <a:rPr lang="kk-KZ" b="1" dirty="0" smtClean="0">
                <a:solidFill>
                  <a:schemeClr val="accent2">
                    <a:lumMod val="75000"/>
                  </a:schemeClr>
                </a:solidFill>
              </a:rPr>
              <a:t>Казақстан </a:t>
            </a:r>
            <a:r>
              <a:rPr lang="kk-KZ" b="1" dirty="0">
                <a:solidFill>
                  <a:schemeClr val="accent2">
                    <a:lumMod val="75000"/>
                  </a:schemeClr>
                </a:solidFill>
              </a:rPr>
              <a:t>Республикасының салық заңнамасының және сақталуын бақылау, салық </a:t>
            </a:r>
            <a:r>
              <a:rPr lang="kk-KZ" b="1" dirty="0" smtClean="0">
                <a:solidFill>
                  <a:schemeClr val="accent2">
                    <a:lumMod val="75000"/>
                  </a:schemeClr>
                </a:solidFill>
              </a:rPr>
              <a:t>органдарына </a:t>
            </a:r>
            <a:r>
              <a:rPr lang="kk-KZ" b="1" dirty="0">
                <a:solidFill>
                  <a:schemeClr val="accent2">
                    <a:lumMod val="75000"/>
                  </a:schemeClr>
                </a:solidFill>
              </a:rPr>
              <a:t>жүктелген Казақстан Республикасының өзге де </a:t>
            </a:r>
            <a:r>
              <a:rPr lang="kk-KZ" b="1" dirty="0" smtClean="0">
                <a:solidFill>
                  <a:schemeClr val="accent2">
                    <a:lumMod val="75000"/>
                  </a:schemeClr>
                </a:solidFill>
              </a:rPr>
              <a:t>заннамасының сақталуын </a:t>
            </a:r>
            <a:r>
              <a:rPr lang="kk-KZ" b="1" dirty="0">
                <a:solidFill>
                  <a:schemeClr val="accent2">
                    <a:lumMod val="75000"/>
                  </a:schemeClr>
                </a:solidFill>
              </a:rPr>
              <a:t>қамтамасыз етуге </a:t>
            </a:r>
            <a:r>
              <a:rPr lang="kk-KZ" b="1" dirty="0" smtClean="0">
                <a:solidFill>
                  <a:schemeClr val="accent2">
                    <a:lumMod val="75000"/>
                  </a:schemeClr>
                </a:solidFill>
              </a:rPr>
              <a:t>бағытталған іс-шаралар кешені </a:t>
            </a:r>
            <a:r>
              <a:rPr lang="kk-KZ" b="1" dirty="0">
                <a:solidFill>
                  <a:schemeClr val="accent2">
                    <a:lumMod val="75000"/>
                  </a:schemeClr>
                </a:solidFill>
              </a:rPr>
              <a:t>және бюджетке салықтар мен төлемдерді төлеу үшін жағдайлар жасау</a:t>
            </a:r>
            <a:r>
              <a:rPr lang="kk-KZ" b="1" dirty="0" smtClean="0">
                <a:solidFill>
                  <a:schemeClr val="accent2">
                    <a:lumMod val="75000"/>
                  </a:schemeClr>
                </a:solidFill>
              </a:rPr>
              <a:t>.</a:t>
            </a:r>
            <a:r>
              <a:rPr lang="ru-RU" b="1" dirty="0">
                <a:solidFill>
                  <a:schemeClr val="accent2">
                    <a:lumMod val="75000"/>
                  </a:schemeClr>
                </a:solidFill>
              </a:rPr>
              <a:t> </a:t>
            </a:r>
            <a:endParaRPr lang="ru-RU" sz="160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0EE623F9-3E13-652D-D37C-8B121858EE2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32B3DF5D-5900-2F6D-4B1B-92CB9A793205}"/>
              </a:ext>
            </a:extLst>
          </p:cNvPr>
          <p:cNvSpPr/>
          <p:nvPr/>
        </p:nvSpPr>
        <p:spPr>
          <a:xfrm>
            <a:off x="227134" y="2891778"/>
            <a:ext cx="11737731" cy="3143735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360363">
              <a:defRPr/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алықтық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әкімшілендіру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ыналарды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b="1" dirty="0" err="1" smtClean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амтиды</a:t>
            </a:r>
            <a:endParaRPr lang="ru-RU" b="1" dirty="0" smtClean="0">
              <a:solidFill>
                <a:srgbClr val="00206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360363">
              <a:defRPr/>
            </a:pPr>
            <a:r>
              <a:rPr lang="ru-RU" b="1" dirty="0" smtClean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1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)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алықтық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іркеу</a:t>
            </a:r>
            <a:endParaRPr lang="ru-RU" b="1" dirty="0">
              <a:solidFill>
                <a:srgbClr val="00206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360363">
              <a:defRPr/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2) БКМ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олдану</a:t>
            </a:r>
            <a:endParaRPr lang="ru-RU" b="1" dirty="0">
              <a:solidFill>
                <a:srgbClr val="00206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360363">
              <a:defRPr/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3)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алық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нысандарын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қабылдау</a:t>
            </a:r>
            <a:endParaRPr lang="ru-RU" b="1" dirty="0">
              <a:solidFill>
                <a:srgbClr val="00206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360363">
              <a:defRPr/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4)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алықтық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індеттеменің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әлеуметтік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мдерді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йыппұлдар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мен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өсімпұлдарды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удару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өніндегі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індеттердің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рындалуын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есепке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лу</a:t>
            </a:r>
            <a:endParaRPr lang="ru-RU" b="1" dirty="0">
              <a:solidFill>
                <a:srgbClr val="00206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360363">
              <a:defRPr/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5) </a:t>
            </a:r>
            <a:r>
              <a:rPr lang="ru-RU" b="1" dirty="0" err="1" smtClean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алықтық</a:t>
            </a:r>
            <a:r>
              <a:rPr lang="ru-RU" b="1" dirty="0" smtClean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b="1" dirty="0" err="1" smtClean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індеттемені</a:t>
            </a:r>
            <a:r>
              <a:rPr lang="ru-RU" b="1" dirty="0" smtClean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рындау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ерзімдерін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өзгерту</a:t>
            </a:r>
            <a:endParaRPr lang="ru-RU" b="1" dirty="0">
              <a:solidFill>
                <a:srgbClr val="00206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360363">
              <a:defRPr/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6)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амералдық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ақылау</a:t>
            </a:r>
            <a:endParaRPr lang="ru-RU" b="1" dirty="0">
              <a:solidFill>
                <a:srgbClr val="00206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360363">
              <a:defRPr/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7) ЭШФ </a:t>
            </a:r>
            <a:r>
              <a:rPr lang="ru-RU" b="1" dirty="0" err="1" smtClean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азып</a:t>
            </a:r>
            <a:r>
              <a:rPr lang="ru-RU" b="1" dirty="0" smtClean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b="1" dirty="0" err="1" smtClean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ерілуін</a:t>
            </a:r>
            <a:r>
              <a:rPr lang="ru-RU" b="1" dirty="0" smtClean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b="1" dirty="0" err="1" smtClean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ақылау</a:t>
            </a:r>
            <a:endParaRPr lang="ru-RU" b="1" dirty="0">
              <a:solidFill>
                <a:srgbClr val="00206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360363">
              <a:defRPr/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8) </a:t>
            </a:r>
            <a:r>
              <a:rPr lang="ru-RU" b="1" dirty="0" err="1" smtClean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алықтық</a:t>
            </a:r>
            <a:r>
              <a:rPr lang="ru-RU" b="1" dirty="0" smtClean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мониторинг</a:t>
            </a:r>
            <a:endParaRPr lang="ru-RU" b="1" dirty="0">
              <a:solidFill>
                <a:srgbClr val="00206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360363">
              <a:defRPr/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9)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алықтық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ақылау</a:t>
            </a:r>
            <a:endParaRPr lang="ru-RU" b="1" dirty="0">
              <a:solidFill>
                <a:srgbClr val="00206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360363">
              <a:defRPr/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10)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ақылаудың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өзге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де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нысандары</a:t>
            </a:r>
            <a:endParaRPr lang="ru-RU" b="1" dirty="0">
              <a:solidFill>
                <a:srgbClr val="00206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360363">
              <a:defRPr/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11)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алық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берешегін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әжбүрлеп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өндіріп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алу</a:t>
            </a:r>
            <a:endParaRPr lang="ru-RU" b="1" dirty="0">
              <a:solidFill>
                <a:srgbClr val="00206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354013" lvl="4" algn="just">
              <a:lnSpc>
                <a:spcPct val="114000"/>
              </a:lnSpc>
              <a:spcBef>
                <a:spcPts val="6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endParaRPr lang="ru-RU" b="1" kern="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269002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4A4398A-5718-5E49-CD73-9B9B60FDE4F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FEDD44C3-0560-60CD-8ED4-01085B8C7AC7}"/>
              </a:ext>
            </a:extLst>
          </p:cNvPr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6213" algn="ctr"/>
            <a:r>
              <a:rPr lang="kk-KZ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САЛЫҚТЫҚ МІНДЕТТЕМЕЛЕР </a:t>
            </a:r>
            <a:r>
              <a:rPr lang="kk-KZ" sz="2800" b="1" dirty="0">
                <a:latin typeface="Arial" panose="020B0604020202020204" pitchFamily="34" charset="0"/>
                <a:cs typeface="Arial" panose="020B0604020202020204" pitchFamily="34" charset="0"/>
              </a:rPr>
              <a:t>БОЙЫНША ТАЛАП </a:t>
            </a:r>
            <a:r>
              <a:rPr lang="kk-KZ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ҚОЮДЫҢ ЕСКЕРУ МЕРЗІМІ</a:t>
            </a:r>
            <a:endParaRPr lang="kk-KZ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D4AB323-5BA9-0790-3484-9A1B579DC645}"/>
              </a:ext>
            </a:extLst>
          </p:cNvPr>
          <p:cNvSpPr txBox="1"/>
          <p:nvPr/>
        </p:nvSpPr>
        <p:spPr>
          <a:xfrm>
            <a:off x="353961" y="1177361"/>
            <a:ext cx="11610904" cy="46381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450215" algn="just">
              <a:lnSpc>
                <a:spcPct val="107000"/>
              </a:lnSpc>
              <a:spcAft>
                <a:spcPts val="800"/>
              </a:spcAft>
            </a:pPr>
            <a:r>
              <a:rPr lang="kk-KZ" sz="2000" b="1" dirty="0" smtClean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алап қоюдың ескеру </a:t>
            </a:r>
            <a:r>
              <a:rPr lang="kk-KZ" sz="2000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ерзімі:</a:t>
            </a:r>
          </a:p>
          <a:p>
            <a:pPr indent="450215" algn="just">
              <a:lnSpc>
                <a:spcPct val="107000"/>
              </a:lnSpc>
              <a:spcAft>
                <a:spcPts val="800"/>
              </a:spcAft>
            </a:pPr>
            <a:r>
              <a:rPr lang="kk-KZ" sz="2000" b="1" dirty="0" smtClean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ыналар үшін 5 жыл:</a:t>
            </a:r>
            <a:endParaRPr lang="kk-KZ" sz="2000" b="1" dirty="0">
              <a:solidFill>
                <a:srgbClr val="00206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indent="450215" algn="just">
              <a:lnSpc>
                <a:spcPct val="107000"/>
              </a:lnSpc>
              <a:spcAft>
                <a:spcPts val="800"/>
              </a:spcAft>
            </a:pPr>
            <a:r>
              <a:rPr lang="kk-KZ" sz="2000" b="1" dirty="0" smtClean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- ірі </a:t>
            </a:r>
            <a:r>
              <a:rPr lang="kk-KZ" sz="2000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әсіпкерлік субъектілері;</a:t>
            </a:r>
          </a:p>
          <a:p>
            <a:pPr indent="450215" algn="just">
              <a:lnSpc>
                <a:spcPct val="107000"/>
              </a:lnSpc>
              <a:spcAft>
                <a:spcPts val="800"/>
              </a:spcAft>
            </a:pPr>
            <a:r>
              <a:rPr lang="kk-KZ" sz="2000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- жер қойнауын пайдаланушылар;</a:t>
            </a:r>
          </a:p>
          <a:p>
            <a:pPr indent="450215" algn="just">
              <a:lnSpc>
                <a:spcPct val="107000"/>
              </a:lnSpc>
              <a:spcAft>
                <a:spcPts val="800"/>
              </a:spcAft>
            </a:pPr>
            <a:r>
              <a:rPr lang="kk-KZ" sz="2000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- шетелдік компанияларды бақылайтын Казақстан Республикасының резиденттері;</a:t>
            </a:r>
          </a:p>
          <a:p>
            <a:pPr indent="450215" algn="just">
              <a:lnSpc>
                <a:spcPct val="107000"/>
              </a:lnSpc>
              <a:spcAft>
                <a:spcPts val="800"/>
              </a:spcAft>
            </a:pPr>
            <a:r>
              <a:rPr lang="kk-KZ" sz="2000" b="1" dirty="0" smtClean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- еспеке </a:t>
            </a:r>
            <a:r>
              <a:rPr lang="kk-KZ" sz="2000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атқызу әдісі қолданылған тауарларға қатысты ҚҚС төлеушілері</a:t>
            </a:r>
            <a:r>
              <a:rPr lang="kk-KZ" sz="2000" b="1" dirty="0" smtClean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;</a:t>
            </a:r>
          </a:p>
          <a:p>
            <a:pPr indent="450215" algn="just">
              <a:lnSpc>
                <a:spcPct val="107000"/>
              </a:lnSpc>
              <a:spcAft>
                <a:spcPts val="800"/>
              </a:spcAft>
            </a:pPr>
            <a:endParaRPr lang="kk-KZ" sz="2000" b="1" dirty="0" smtClean="0">
              <a:solidFill>
                <a:srgbClr val="00206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indent="450215" algn="just">
              <a:lnSpc>
                <a:spcPct val="107000"/>
              </a:lnSpc>
              <a:spcAft>
                <a:spcPts val="800"/>
              </a:spcAft>
            </a:pPr>
            <a:r>
              <a:rPr lang="kk-KZ" sz="2000" b="1" dirty="0" smtClean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Өзге салық </a:t>
            </a:r>
            <a:r>
              <a:rPr lang="kk-KZ" sz="2000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өлеушілері үшін 3 </a:t>
            </a:r>
            <a:r>
              <a:rPr lang="kk-KZ" sz="2000" b="1" dirty="0" smtClean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ыл</a:t>
            </a:r>
          </a:p>
          <a:p>
            <a:pPr indent="450215" algn="just">
              <a:lnSpc>
                <a:spcPct val="107000"/>
              </a:lnSpc>
              <a:spcAft>
                <a:spcPts val="800"/>
              </a:spcAft>
            </a:pPr>
            <a:endParaRPr lang="kk-KZ" sz="2000" b="1" dirty="0">
              <a:solidFill>
                <a:srgbClr val="00206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447675" indent="1588" algn="just">
              <a:lnSpc>
                <a:spcPct val="107000"/>
              </a:lnSpc>
              <a:spcAft>
                <a:spcPts val="800"/>
              </a:spcAft>
            </a:pPr>
            <a:r>
              <a:rPr lang="kk-KZ" sz="2000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Тексерулер бойынша талап қоюдың </a:t>
            </a:r>
            <a:r>
              <a:rPr lang="kk-KZ" sz="2000" b="1" dirty="0" smtClean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ескіру </a:t>
            </a:r>
            <a:r>
              <a:rPr lang="kk-KZ" sz="2000" b="1" dirty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ерзімінің өтуі хабарламаны өткізу басталғанан бастап орындағанға дейін тоқтатыла тұрады</a:t>
            </a:r>
            <a:r>
              <a:rPr lang="kk-KZ" sz="2000" b="1" dirty="0" smtClean="0">
                <a:solidFill>
                  <a:srgbClr val="00206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.</a:t>
            </a:r>
            <a:endParaRPr lang="kk-KZ" sz="2000" b="1" dirty="0">
              <a:solidFill>
                <a:srgbClr val="00206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0EE623F9-3E13-652D-D37C-8B121858EE2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5734319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6"/>
            <a:ext cx="12192000" cy="866096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1200"/>
              </a:spcAft>
              <a:defRPr/>
            </a:pPr>
            <a:r>
              <a:rPr lang="ru-RU" sz="2800" b="1" dirty="0">
                <a:solidFill>
                  <a:srgbClr val="002060"/>
                </a:solidFill>
                <a:latin typeface="Montserrat" pitchFamily="2" charset="-52"/>
                <a:ea typeface="Roboto Condensed" panose="02000000000000000000" pitchFamily="2" charset="0"/>
                <a:cs typeface="Arial" panose="020B0604020202020204" pitchFamily="34" charset="0"/>
              </a:rPr>
              <a:t>                   </a:t>
            </a:r>
            <a:r>
              <a:rPr lang="ru-RU" sz="2800" b="1" dirty="0" smtClean="0">
                <a:solidFill>
                  <a:schemeClr val="bg1"/>
                </a:solidFill>
                <a:latin typeface="Arial" panose="020B0604020202020204" pitchFamily="34" charset="0"/>
                <a:ea typeface="Roboto Condensed" panose="02000000000000000000" pitchFamily="2" charset="0"/>
                <a:cs typeface="Arial" panose="020B0604020202020204" pitchFamily="34" charset="0"/>
              </a:rPr>
              <a:t>ШЫҒЫС ОПЕРАЦИЯЛАРЫН ТОҚТАТА ТҰРУ</a:t>
            </a:r>
            <a:endParaRPr lang="ru-RU" sz="2800" b="1" dirty="0">
              <a:solidFill>
                <a:schemeClr val="bg1"/>
              </a:solidFill>
              <a:latin typeface="Arial" panose="020B0604020202020204" pitchFamily="34" charset="0"/>
              <a:ea typeface="Roboto Condensed" panose="02000000000000000000" pitchFamily="2" charset="0"/>
              <a:cs typeface="Arial" panose="020B0604020202020204" pitchFamily="34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0E7D0CCA-D21C-4CC9-BCFE-2FA27A21001B}"/>
              </a:ext>
            </a:extLst>
          </p:cNvPr>
          <p:cNvSpPr/>
          <p:nvPr/>
        </p:nvSpPr>
        <p:spPr>
          <a:xfrm>
            <a:off x="304800" y="862220"/>
            <a:ext cx="11707813" cy="60016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54013" algn="just">
              <a:lnSpc>
                <a:spcPct val="150000"/>
              </a:lnSpc>
            </a:pP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анктік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шоттар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ойынша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шығыс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перацияларын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оқтата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ұру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:</a:t>
            </a:r>
          </a:p>
          <a:p>
            <a:pPr marL="354013" indent="182563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алық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өлеушінің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(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алық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гентінің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)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алықтық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ерешегінің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шекті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kk-KZ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өлшерінен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сатын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омада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алықтық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ерешегін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өтемеу</a:t>
            </a:r>
            <a:endParaRPr lang="ru-RU" sz="16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54013" indent="182563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алық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рганында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іркеу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есебіне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ою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уралы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хабарламаны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рындамау</a:t>
            </a:r>
            <a:endParaRPr lang="ru-RU" sz="16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54013" indent="182563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алық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рганының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лауазымды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дамдарын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алық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салу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бъектілерін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әне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(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емесе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)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алық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алуға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айланысты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бъектілерді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алықтық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ексеруге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әне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зерттеп-қарауға</a:t>
            </a:r>
            <a:r>
              <a:rPr lang="ru-RU" sz="1600" dirty="0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ібермеу</a:t>
            </a:r>
            <a:r>
              <a:rPr lang="ru-RU" sz="1600" dirty="0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endParaRPr lang="ru-RU" sz="16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54013" indent="182563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амералдық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ақылау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нәтижелері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ойынша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олжамды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лшақтықтар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уралы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хабарламаны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рындамау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</a:p>
          <a:p>
            <a:pPr marL="354013" indent="182563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дебиторлық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ерешекті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астау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уралы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хабарламаны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рындамау</a:t>
            </a:r>
            <a:endParaRPr lang="ru-RU" sz="16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54013" indent="182563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ауарларды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өткізу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ұмыстарды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рындау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әне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қызметтерді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өрсету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ойынша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йналымның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іс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үзінде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асалғанын</a:t>
            </a:r>
            <a:r>
              <a:rPr lang="ru-RU" sz="1600" dirty="0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растайтын</a:t>
            </a:r>
            <a:r>
              <a:rPr lang="ru-RU" sz="1600" dirty="0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хабарламаны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рындамау</a:t>
            </a:r>
            <a:endParaRPr lang="ru-RU" sz="16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54013" algn="just">
              <a:lnSpc>
                <a:spcPct val="150000"/>
              </a:lnSpc>
            </a:pPr>
            <a:r>
              <a:rPr lang="ru-RU" sz="2000" b="1" dirty="0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  Касса 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ойынша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шығыс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перацияларын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оқтата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2000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ұру</a:t>
            </a: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:</a:t>
            </a:r>
          </a:p>
          <a:p>
            <a:pPr marL="354013" indent="182563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алық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өлеушінің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(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алық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гентінің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)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алықтық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ерешегінің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шекті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мөлшерінен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асатын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омада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алықтық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ерешегін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өтемеу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endParaRPr lang="ru-RU" sz="1600" dirty="0" smtClean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54013" indent="182563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ru-RU" sz="1600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54013" indent="368300" algn="just">
              <a:lnSpc>
                <a:spcPct val="150000"/>
              </a:lnSpc>
            </a:pPr>
            <a:r>
              <a:rPr lang="ru-RU" sz="1200" dirty="0" err="1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Шығыс</a:t>
            </a:r>
            <a:r>
              <a:rPr lang="ru-RU" sz="1200" dirty="0" smtClean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перацияларын</a:t>
            </a:r>
            <a:r>
              <a:rPr lang="ru-RU" sz="12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оқтата</a:t>
            </a:r>
            <a:r>
              <a:rPr lang="ru-RU" sz="12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ұру</a:t>
            </a:r>
            <a:r>
              <a:rPr lang="ru-RU" sz="12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уралы</a:t>
            </a:r>
            <a:r>
              <a:rPr lang="ru-RU" sz="12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өкім</a:t>
            </a:r>
            <a:r>
              <a:rPr lang="ru-RU" sz="12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шығыс</a:t>
            </a:r>
            <a:r>
              <a:rPr lang="ru-RU" sz="12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операцияларды</a:t>
            </a:r>
            <a:r>
              <a:rPr lang="ru-RU" sz="12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оқтата</a:t>
            </a:r>
            <a:r>
              <a:rPr lang="ru-RU" sz="12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тұру</a:t>
            </a:r>
            <a:r>
              <a:rPr lang="ru-RU" sz="12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себептері</a:t>
            </a:r>
            <a:r>
              <a:rPr lang="ru-RU" sz="12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ойылған</a:t>
            </a:r>
            <a:r>
              <a:rPr lang="ru-RU" sz="12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үннен</a:t>
            </a:r>
            <a:r>
              <a:rPr lang="ru-RU" sz="12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ейінгі</a:t>
            </a:r>
            <a:r>
              <a:rPr lang="ru-RU" sz="12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бір</a:t>
            </a:r>
            <a:r>
              <a:rPr lang="ru-RU" sz="12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ұмыс</a:t>
            </a:r>
            <a:r>
              <a:rPr lang="ru-RU" sz="12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үнінен</a:t>
            </a:r>
            <a:r>
              <a:rPr lang="ru-RU" sz="12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ешіктірілмей</a:t>
            </a:r>
            <a:r>
              <a:rPr lang="ru-RU" sz="1200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ru-RU" sz="1200" b="1" dirty="0" err="1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жойылады</a:t>
            </a:r>
            <a:r>
              <a:rPr lang="ru-RU" sz="1200" b="1" dirty="0">
                <a:solidFill>
                  <a:srgbClr val="002060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29958317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A06A494-8E61-01B7-FA3F-72FDD54040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D0E7281F-3CB1-79A3-2422-70E949F5F234}"/>
              </a:ext>
            </a:extLst>
          </p:cNvPr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lvl="0" algn="ctr">
              <a:defRPr/>
            </a:pPr>
            <a:r>
              <a:rPr lang="ru-RU" sz="28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ЫҚТЫҚ ТӘУЕКЕЛДЕРДІ </a:t>
            </a:r>
            <a:r>
              <a:rPr lang="ru-RU" sz="2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СҚАРУ ЖҮЙЕСІ</a:t>
            </a:r>
            <a:endParaRPr kumimoji="0" lang="ru-RU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BA3B218D-539A-09F5-1298-D90BAAEA69A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302794" y="1336683"/>
            <a:ext cx="11586411" cy="27392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4" indent="360363" algn="just">
              <a:spcAft>
                <a:spcPts val="200"/>
              </a:spcAft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алық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өлеушілерді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әуекел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дәрежесі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өмен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рташа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емесе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оғары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анаттарға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атқызу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олымен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ларды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анаттауға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ол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ерілмейді</a:t>
            </a:r>
            <a:endParaRPr lang="ru-RU" kern="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0" lvl="4" indent="360363" algn="just">
              <a:spcAft>
                <a:spcPts val="200"/>
              </a:spcAft>
              <a:buClr>
                <a:srgbClr val="000000"/>
              </a:buClr>
              <a:tabLst>
                <a:tab pos="10281920" algn="l"/>
              </a:tabLst>
              <a:defRPr/>
            </a:pPr>
            <a:endParaRPr lang="ru-RU" kern="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0" lvl="4" indent="360363" algn="just">
              <a:spcAft>
                <a:spcPts val="200"/>
              </a:spcAft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әуекел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дәрежесін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ағалау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егізінде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мерзімді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алықтық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ексеру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убъектілерін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іріктеу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лып</a:t>
            </a:r>
            <a:r>
              <a:rPr lang="ru-RU" kern="100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асталады</a:t>
            </a:r>
            <a:endParaRPr lang="ru-RU" kern="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0" lvl="4" indent="360363" algn="just">
              <a:spcAft>
                <a:spcPts val="200"/>
              </a:spcAft>
              <a:buClr>
                <a:srgbClr val="000000"/>
              </a:buClr>
              <a:tabLst>
                <a:tab pos="10281920" algn="l"/>
              </a:tabLst>
              <a:defRPr/>
            </a:pPr>
            <a:endParaRPr lang="ru-RU" kern="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0" lvl="4" indent="360363" algn="just">
              <a:spcAft>
                <a:spcPts val="200"/>
              </a:spcAft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алық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заңнамасын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ұзу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әуекелдерін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нықтау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үшін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алық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өлеушілердің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өзін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ағалау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үйесінен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лшақтап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алықтық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тәуекелдерді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басқару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жүйесін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айта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ұру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ұсынылады</a:t>
            </a:r>
            <a:endParaRPr lang="ru-RU" kern="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0" lvl="4" indent="360363" algn="just">
              <a:spcAft>
                <a:spcPts val="200"/>
              </a:spcAft>
              <a:buClr>
                <a:srgbClr val="000000"/>
              </a:buClr>
              <a:tabLst>
                <a:tab pos="10281920" algn="l"/>
              </a:tabLst>
              <a:defRPr/>
            </a:pPr>
            <a:endParaRPr lang="ru-RU" kern="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0" lvl="4" indent="360363" algn="just">
              <a:spcAft>
                <a:spcPts val="200"/>
              </a:spcAft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қпараттық-алдын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алу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ипатындағы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шараларды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немесе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орындауға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міндетті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шараларды</a:t>
            </a:r>
            <a:r>
              <a:rPr lang="ru-RU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kern="100" dirty="0" err="1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қабылдау</a:t>
            </a:r>
            <a:endParaRPr lang="ru-RU" kern="1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00690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Сектор">
  <a:themeElements>
    <a:clrScheme name="Сектор">
      <a:dk1>
        <a:sysClr val="windowText" lastClr="000000"/>
      </a:dk1>
      <a:lt1>
        <a:sysClr val="window" lastClr="FFFFFF"/>
      </a:lt1>
      <a:dk2>
        <a:srgbClr val="146194"/>
      </a:dk2>
      <a:lt2>
        <a:srgbClr val="76DBF4"/>
      </a:lt2>
      <a:accent1>
        <a:srgbClr val="052F61"/>
      </a:accent1>
      <a:accent2>
        <a:srgbClr val="A50E82"/>
      </a:accent2>
      <a:accent3>
        <a:srgbClr val="14967C"/>
      </a:accent3>
      <a:accent4>
        <a:srgbClr val="6A9E1F"/>
      </a:accent4>
      <a:accent5>
        <a:srgbClr val="E87D37"/>
      </a:accent5>
      <a:accent6>
        <a:srgbClr val="C62324"/>
      </a:accent6>
      <a:hlink>
        <a:srgbClr val="0D2E46"/>
      </a:hlink>
      <a:folHlink>
        <a:srgbClr val="356A95"/>
      </a:folHlink>
    </a:clrScheme>
    <a:fontScheme name="Сектор">
      <a:majorFont>
        <a:latin typeface="Century Gothic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ектор">
      <a:fillStyleLst>
        <a:solidFill>
          <a:schemeClr val="phClr"/>
        </a:solidFill>
        <a:gradFill rotWithShape="1">
          <a:gsLst>
            <a:gs pos="0">
              <a:schemeClr val="phClr">
                <a:tint val="62000"/>
                <a:hueMod val="94000"/>
                <a:satMod val="140000"/>
                <a:lumMod val="110000"/>
              </a:schemeClr>
            </a:gs>
            <a:gs pos="100000">
              <a:schemeClr val="phClr">
                <a:tint val="84000"/>
                <a:satMod val="16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hueMod val="94000"/>
                <a:satMod val="130000"/>
                <a:lumMod val="128000"/>
              </a:schemeClr>
            </a:gs>
            <a:gs pos="100000">
              <a:schemeClr val="phClr">
                <a:shade val="94000"/>
                <a:lumMod val="88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tint val="76000"/>
              <a:alpha val="60000"/>
              <a:hueMod val="94000"/>
            </a:schemeClr>
          </a:solidFill>
          <a:prstDash val="solid"/>
        </a:ln>
        <a:ln w="15875" cap="rnd" cmpd="sng" algn="ctr">
          <a:solidFill>
            <a:schemeClr val="phClr">
              <a:hueMod val="94000"/>
            </a:schemeClr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innerShdw blurRad="25400" dist="12700" dir="13500000">
              <a:srgbClr val="000000">
                <a:alpha val="45000"/>
              </a:srgbClr>
            </a:innerShdw>
          </a:effectLst>
        </a:effectStyle>
        <a:effectStyle>
          <a:effectLst>
            <a:outerShdw blurRad="50800" dist="38100" dir="5400000" rotWithShape="0">
              <a:srgbClr val="000000">
                <a:alpha val="46000"/>
              </a:srgbClr>
            </a:outerShdw>
          </a:effectLst>
          <a:scene3d>
            <a:camera prst="orthographicFront">
              <a:rot lat="0" lon="0" rev="0"/>
            </a:camera>
            <a:lightRig rig="threePt" dir="t"/>
          </a:scene3d>
          <a:sp3d prstMaterial="plastic">
            <a:bevelT w="25400" h="25400"/>
          </a:sp3d>
        </a:effectStyle>
      </a:effectStyleLst>
      <a:bgFillStyleLst>
        <a:solidFill>
          <a:schemeClr val="phClr"/>
        </a:solidFill>
        <a:gradFill rotWithShape="1">
          <a:gsLst>
            <a:gs pos="10000">
              <a:schemeClr val="phClr">
                <a:tint val="97000"/>
                <a:hueMod val="92000"/>
                <a:satMod val="169000"/>
                <a:lumMod val="164000"/>
              </a:schemeClr>
            </a:gs>
            <a:gs pos="100000">
              <a:schemeClr val="phClr">
                <a:shade val="96000"/>
                <a:satMod val="120000"/>
                <a:lumMod val="90000"/>
              </a:schemeClr>
            </a:gs>
          </a:gsLst>
          <a:lin ang="6120000" scaled="1"/>
        </a:gradFill>
        <a:gradFill rotWithShape="1">
          <a:gsLst>
            <a:gs pos="0">
              <a:schemeClr val="phClr">
                <a:tint val="97000"/>
                <a:hueMod val="92000"/>
                <a:satMod val="169000"/>
                <a:lumMod val="164000"/>
              </a:schemeClr>
            </a:gs>
            <a:gs pos="100000">
              <a:schemeClr val="phClr">
                <a:shade val="96000"/>
                <a:satMod val="120000"/>
                <a:lumMod val="90000"/>
              </a:schemeClr>
            </a:gs>
          </a:gsLst>
          <a:path path="circle">
            <a:fillToRect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lice" id="{0507925B-6AC9-4358-8E18-C330545D08F8}" vid="{13FEC7C6-62A9-40C4-99D2-581AACACAA2F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Retrospect</Template>
  <TotalTime>1914</TotalTime>
  <Words>2353</Words>
  <Application>Microsoft Office PowerPoint</Application>
  <PresentationFormat>Широкоэкранный</PresentationFormat>
  <Paragraphs>267</Paragraphs>
  <Slides>23</Slides>
  <Notes>3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2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3</vt:i4>
      </vt:variant>
    </vt:vector>
  </HeadingPairs>
  <TitlesOfParts>
    <vt:vector size="38" baseType="lpstr">
      <vt:lpstr>ＭＳ Ｐゴシック</vt:lpstr>
      <vt:lpstr>Arial</vt:lpstr>
      <vt:lpstr>Arial Black</vt:lpstr>
      <vt:lpstr>Calibri</vt:lpstr>
      <vt:lpstr>Calibri Light</vt:lpstr>
      <vt:lpstr>Century Gothic</vt:lpstr>
      <vt:lpstr>Montserrat</vt:lpstr>
      <vt:lpstr>Roboto Condensed</vt:lpstr>
      <vt:lpstr>Tahoma</vt:lpstr>
      <vt:lpstr>Times New Roman</vt:lpstr>
      <vt:lpstr>Wingdings</vt:lpstr>
      <vt:lpstr>Wingdings 3</vt:lpstr>
      <vt:lpstr>1_Тема Office</vt:lpstr>
      <vt:lpstr>Сектор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Карина Лазарева</dc:creator>
  <cp:lastModifiedBy>Мурзагалиева Лаззат Имангельдиевна  </cp:lastModifiedBy>
  <cp:revision>197</cp:revision>
  <cp:lastPrinted>2024-06-04T04:19:04Z</cp:lastPrinted>
  <dcterms:created xsi:type="dcterms:W3CDTF">2024-05-17T10:30:13Z</dcterms:created>
  <dcterms:modified xsi:type="dcterms:W3CDTF">2024-12-04T13:11:24Z</dcterms:modified>
</cp:coreProperties>
</file>